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8"/>
  </p:notesMasterIdLst>
  <p:sldIdLst>
    <p:sldId id="339" r:id="rId5"/>
    <p:sldId id="259" r:id="rId6"/>
    <p:sldId id="267" r:id="rId7"/>
    <p:sldId id="300" r:id="rId8"/>
    <p:sldId id="335" r:id="rId9"/>
    <p:sldId id="321" r:id="rId10"/>
    <p:sldId id="337" r:id="rId11"/>
    <p:sldId id="322" r:id="rId12"/>
    <p:sldId id="275" r:id="rId13"/>
    <p:sldId id="330" r:id="rId14"/>
    <p:sldId id="331" r:id="rId15"/>
    <p:sldId id="334" r:id="rId16"/>
    <p:sldId id="333" r:id="rId17"/>
    <p:sldId id="338" r:id="rId18"/>
    <p:sldId id="323" r:id="rId19"/>
    <p:sldId id="329" r:id="rId20"/>
    <p:sldId id="325" r:id="rId21"/>
    <p:sldId id="336" r:id="rId22"/>
    <p:sldId id="327" r:id="rId23"/>
    <p:sldId id="320" r:id="rId24"/>
    <p:sldId id="264" r:id="rId25"/>
    <p:sldId id="297" r:id="rId26"/>
    <p:sldId id="262" r:id="rId27"/>
  </p:sldIdLst>
  <p:sldSz cx="12192000" cy="6858000"/>
  <p:notesSz cx="6858000" cy="9144000"/>
  <p:custDataLst>
    <p:tags r:id="rId29"/>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5B070F6-8DAA-4670-BE6D-C9F0D8A10724}" v="9" dt="2020-10-28T08:02:18.729"/>
  </p1510:revLst>
</p1510:revInfo>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6" d="100"/>
          <a:sy n="106" d="100"/>
        </p:scale>
        <p:origin x="1434"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35"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nsson Åsa" userId="S::asa.jonsson@inera.se::e7c157ac-c4f4-446a-aea7-2d9507f60b0e" providerId="AD" clId="Web-{8EF474AC-9421-4DB3-B21C-88E427AB8EAB}"/>
    <pc:docChg chg="addSld modSld">
      <pc:chgData name="Jonsson Åsa" userId="S::asa.jonsson@inera.se::e7c157ac-c4f4-446a-aea7-2d9507f60b0e" providerId="AD" clId="Web-{8EF474AC-9421-4DB3-B21C-88E427AB8EAB}" dt="2020-10-23T06:53:35.629" v="231" actId="20577"/>
      <pc:docMkLst>
        <pc:docMk/>
      </pc:docMkLst>
      <pc:sldChg chg="addSp delSp modSp add replId">
        <pc:chgData name="Jonsson Åsa" userId="S::asa.jonsson@inera.se::e7c157ac-c4f4-446a-aea7-2d9507f60b0e" providerId="AD" clId="Web-{8EF474AC-9421-4DB3-B21C-88E427AB8EAB}" dt="2020-10-23T06:53:35.629" v="231" actId="20577"/>
        <pc:sldMkLst>
          <pc:docMk/>
          <pc:sldMk cId="1517448407" sldId="335"/>
        </pc:sldMkLst>
        <pc:spChg chg="mod">
          <ac:chgData name="Jonsson Åsa" userId="S::asa.jonsson@inera.se::e7c157ac-c4f4-446a-aea7-2d9507f60b0e" providerId="AD" clId="Web-{8EF474AC-9421-4DB3-B21C-88E427AB8EAB}" dt="2020-10-23T06:44:59.809" v="8" actId="20577"/>
          <ac:spMkLst>
            <pc:docMk/>
            <pc:sldMk cId="1517448407" sldId="335"/>
            <ac:spMk id="3" creationId="{1F6A61D0-C9A9-4590-A7BC-2BC87D50447B}"/>
          </ac:spMkLst>
        </pc:spChg>
        <pc:spChg chg="mod">
          <ac:chgData name="Jonsson Åsa" userId="S::asa.jonsson@inera.se::e7c157ac-c4f4-446a-aea7-2d9507f60b0e" providerId="AD" clId="Web-{8EF474AC-9421-4DB3-B21C-88E427AB8EAB}" dt="2020-10-23T06:53:35.629" v="231" actId="20577"/>
          <ac:spMkLst>
            <pc:docMk/>
            <pc:sldMk cId="1517448407" sldId="335"/>
            <ac:spMk id="4" creationId="{A3D50747-90DD-46B2-8D52-B5AEBF58670C}"/>
          </ac:spMkLst>
        </pc:spChg>
        <pc:spChg chg="del mod">
          <ac:chgData name="Jonsson Åsa" userId="S::asa.jonsson@inera.se::e7c157ac-c4f4-446a-aea7-2d9507f60b0e" providerId="AD" clId="Web-{8EF474AC-9421-4DB3-B21C-88E427AB8EAB}" dt="2020-10-23T06:45:20.247" v="12"/>
          <ac:spMkLst>
            <pc:docMk/>
            <pc:sldMk cId="1517448407" sldId="335"/>
            <ac:spMk id="7" creationId="{8713E689-BD7A-4C25-B53E-EE9441DA6417}"/>
          </ac:spMkLst>
        </pc:spChg>
        <pc:picChg chg="add mod ord">
          <ac:chgData name="Jonsson Åsa" userId="S::asa.jonsson@inera.se::e7c157ac-c4f4-446a-aea7-2d9507f60b0e" providerId="AD" clId="Web-{8EF474AC-9421-4DB3-B21C-88E427AB8EAB}" dt="2020-10-23T06:52:52.738" v="195"/>
          <ac:picMkLst>
            <pc:docMk/>
            <pc:sldMk cId="1517448407" sldId="335"/>
            <ac:picMk id="2" creationId="{C24AF4CC-E072-4FE3-AB5E-F6A8507C334B}"/>
          </ac:picMkLst>
        </pc:picChg>
      </pc:sldChg>
    </pc:docChg>
  </pc:docChgLst>
  <pc:docChgLst>
    <pc:chgData name="Axelsson Jenny" userId="35153831-a041-4e19-963c-026d50be729b" providerId="ADAL" clId="{45B070F6-8DAA-4670-BE6D-C9F0D8A10724}"/>
    <pc:docChg chg="undo addSld delSld modSld">
      <pc:chgData name="Axelsson Jenny" userId="35153831-a041-4e19-963c-026d50be729b" providerId="ADAL" clId="{45B070F6-8DAA-4670-BE6D-C9F0D8A10724}" dt="2020-10-28T08:13:43.108" v="4" actId="113"/>
      <pc:docMkLst>
        <pc:docMk/>
      </pc:docMkLst>
      <pc:sldChg chg="del">
        <pc:chgData name="Axelsson Jenny" userId="35153831-a041-4e19-963c-026d50be729b" providerId="ADAL" clId="{45B070F6-8DAA-4670-BE6D-C9F0D8A10724}" dt="2020-10-28T08:02:05.155" v="1" actId="2696"/>
        <pc:sldMkLst>
          <pc:docMk/>
          <pc:sldMk cId="2974578957" sldId="312"/>
        </pc:sldMkLst>
      </pc:sldChg>
      <pc:sldChg chg="modSp">
        <pc:chgData name="Axelsson Jenny" userId="35153831-a041-4e19-963c-026d50be729b" providerId="ADAL" clId="{45B070F6-8DAA-4670-BE6D-C9F0D8A10724}" dt="2020-10-28T08:13:43.108" v="4" actId="113"/>
        <pc:sldMkLst>
          <pc:docMk/>
          <pc:sldMk cId="243403172" sldId="327"/>
        </pc:sldMkLst>
        <pc:spChg chg="mod">
          <ac:chgData name="Axelsson Jenny" userId="35153831-a041-4e19-963c-026d50be729b" providerId="ADAL" clId="{45B070F6-8DAA-4670-BE6D-C9F0D8A10724}" dt="2020-10-28T08:13:43.108" v="4" actId="113"/>
          <ac:spMkLst>
            <pc:docMk/>
            <pc:sldMk cId="243403172" sldId="327"/>
            <ac:spMk id="3" creationId="{28E8375E-288E-4539-ABE4-FC3D347AF916}"/>
          </ac:spMkLst>
        </pc:spChg>
      </pc:sldChg>
      <pc:sldChg chg="add">
        <pc:chgData name="Axelsson Jenny" userId="35153831-a041-4e19-963c-026d50be729b" providerId="ADAL" clId="{45B070F6-8DAA-4670-BE6D-C9F0D8A10724}" dt="2020-10-28T08:02:03.440" v="0"/>
        <pc:sldMkLst>
          <pc:docMk/>
          <pc:sldMk cId="3067939833" sldId="339"/>
        </pc:sldMkLst>
      </pc:sldChg>
    </pc:docChg>
  </pc:docChgLst>
  <pc:docChgLst>
    <pc:chgData clId="Web-{FE2C0B25-96B3-4BE2-A54C-E4532995184B}"/>
    <pc:docChg chg="modSld">
      <pc:chgData name="" userId="" providerId="" clId="Web-{FE2C0B25-96B3-4BE2-A54C-E4532995184B}" dt="2020-10-20T11:27:56.110" v="0" actId="20577"/>
      <pc:docMkLst>
        <pc:docMk/>
      </pc:docMkLst>
      <pc:sldChg chg="modSp">
        <pc:chgData name="" userId="" providerId="" clId="Web-{FE2C0B25-96B3-4BE2-A54C-E4532995184B}" dt="2020-10-20T11:27:56.110" v="0" actId="20577"/>
        <pc:sldMkLst>
          <pc:docMk/>
          <pc:sldMk cId="2974578957" sldId="312"/>
        </pc:sldMkLst>
        <pc:spChg chg="mod">
          <ac:chgData name="" userId="" providerId="" clId="Web-{FE2C0B25-96B3-4BE2-A54C-E4532995184B}" dt="2020-10-20T11:27:56.110" v="0" actId="20577"/>
          <ac:spMkLst>
            <pc:docMk/>
            <pc:sldMk cId="2974578957" sldId="312"/>
            <ac:spMk id="4" creationId="{7C3A8192-81A1-4B54-8CE2-055E1C43C19C}"/>
          </ac:spMkLst>
        </pc:spChg>
      </pc:sldChg>
    </pc:docChg>
  </pc:docChgLst>
  <pc:docChgLst>
    <pc:chgData name="Axelsson Jenny" userId="S::jenny.axelsson@inera.se::35153831-a041-4e19-963c-026d50be729b" providerId="AD" clId="Web-{E1BDD909-5326-4842-AC82-ED919D626419}"/>
    <pc:docChg chg="sldOrd">
      <pc:chgData name="Axelsson Jenny" userId="S::jenny.axelsson@inera.se::35153831-a041-4e19-963c-026d50be729b" providerId="AD" clId="Web-{E1BDD909-5326-4842-AC82-ED919D626419}" dt="2020-09-22T07:27:14.559" v="0"/>
      <pc:docMkLst>
        <pc:docMk/>
      </pc:docMkLst>
      <pc:sldChg chg="ord">
        <pc:chgData name="Axelsson Jenny" userId="S::jenny.axelsson@inera.se::35153831-a041-4e19-963c-026d50be729b" providerId="AD" clId="Web-{E1BDD909-5326-4842-AC82-ED919D626419}" dt="2020-09-22T07:27:14.559" v="0"/>
        <pc:sldMkLst>
          <pc:docMk/>
          <pc:sldMk cId="1036871477" sldId="264"/>
        </pc:sldMkLst>
      </pc:sldChg>
    </pc:docChg>
  </pc:docChgLst>
  <pc:docChgLst>
    <pc:chgData name="Jonsson Åsa" userId="S::asa.jonsson@inera.se::e7c157ac-c4f4-446a-aea7-2d9507f60b0e" providerId="AD" clId="Web-{360ADC73-01D3-4A62-8B12-34CE5B97FDF3}"/>
    <pc:docChg chg="addSld modSld">
      <pc:chgData name="Jonsson Åsa" userId="S::asa.jonsson@inera.se::e7c157ac-c4f4-446a-aea7-2d9507f60b0e" providerId="AD" clId="Web-{360ADC73-01D3-4A62-8B12-34CE5B97FDF3}" dt="2020-10-23T07:14:11.092" v="154" actId="20577"/>
      <pc:docMkLst>
        <pc:docMk/>
      </pc:docMkLst>
      <pc:sldChg chg="delSp modSp add replId">
        <pc:chgData name="Jonsson Åsa" userId="S::asa.jonsson@inera.se::e7c157ac-c4f4-446a-aea7-2d9507f60b0e" providerId="AD" clId="Web-{360ADC73-01D3-4A62-8B12-34CE5B97FDF3}" dt="2020-10-23T07:14:11.092" v="154" actId="20577"/>
        <pc:sldMkLst>
          <pc:docMk/>
          <pc:sldMk cId="1958985186" sldId="336"/>
        </pc:sldMkLst>
        <pc:spChg chg="mod">
          <ac:chgData name="Jonsson Åsa" userId="S::asa.jonsson@inera.se::e7c157ac-c4f4-446a-aea7-2d9507f60b0e" providerId="AD" clId="Web-{360ADC73-01D3-4A62-8B12-34CE5B97FDF3}" dt="2020-10-23T07:14:11.092" v="154" actId="20577"/>
          <ac:spMkLst>
            <pc:docMk/>
            <pc:sldMk cId="1958985186" sldId="336"/>
            <ac:spMk id="3" creationId="{1F6A61D0-C9A9-4590-A7BC-2BC87D50447B}"/>
          </ac:spMkLst>
        </pc:spChg>
        <pc:spChg chg="mod">
          <ac:chgData name="Jonsson Åsa" userId="S::asa.jonsson@inera.se::e7c157ac-c4f4-446a-aea7-2d9507f60b0e" providerId="AD" clId="Web-{360ADC73-01D3-4A62-8B12-34CE5B97FDF3}" dt="2020-10-23T07:13:50.217" v="145" actId="20577"/>
          <ac:spMkLst>
            <pc:docMk/>
            <pc:sldMk cId="1958985186" sldId="336"/>
            <ac:spMk id="4" creationId="{A3D50747-90DD-46B2-8D52-B5AEBF58670C}"/>
          </ac:spMkLst>
        </pc:spChg>
        <pc:picChg chg="del">
          <ac:chgData name="Jonsson Åsa" userId="S::asa.jonsson@inera.se::e7c157ac-c4f4-446a-aea7-2d9507f60b0e" providerId="AD" clId="Web-{360ADC73-01D3-4A62-8B12-34CE5B97FDF3}" dt="2020-10-23T07:05:32.382" v="18"/>
          <ac:picMkLst>
            <pc:docMk/>
            <pc:sldMk cId="1958985186" sldId="336"/>
            <ac:picMk id="2" creationId="{C24AF4CC-E072-4FE3-AB5E-F6A8507C334B}"/>
          </ac:picMkLst>
        </pc:picChg>
      </pc:sldChg>
    </pc:docChg>
  </pc:docChgLst>
  <pc:docChgLst>
    <pc:chgData name="Axelsson Jenny" userId="S::jenny.axelsson@inera.se::35153831-a041-4e19-963c-026d50be729b" providerId="AD" clId="Web-{E42783FD-58BE-44C4-B36F-92441BDD775E}"/>
    <pc:docChg chg="modSld">
      <pc:chgData name="Axelsson Jenny" userId="S::jenny.axelsson@inera.se::35153831-a041-4e19-963c-026d50be729b" providerId="AD" clId="Web-{E42783FD-58BE-44C4-B36F-92441BDD775E}" dt="2020-10-22T11:41:19.250" v="50" actId="20577"/>
      <pc:docMkLst>
        <pc:docMk/>
      </pc:docMkLst>
      <pc:sldChg chg="modSp">
        <pc:chgData name="Axelsson Jenny" userId="S::jenny.axelsson@inera.se::35153831-a041-4e19-963c-026d50be729b" providerId="AD" clId="Web-{E42783FD-58BE-44C4-B36F-92441BDD775E}" dt="2020-10-22T11:41:19.250" v="50" actId="20577"/>
        <pc:sldMkLst>
          <pc:docMk/>
          <pc:sldMk cId="1127002852" sldId="333"/>
        </pc:sldMkLst>
        <pc:spChg chg="mod">
          <ac:chgData name="Axelsson Jenny" userId="S::jenny.axelsson@inera.se::35153831-a041-4e19-963c-026d50be729b" providerId="AD" clId="Web-{E42783FD-58BE-44C4-B36F-92441BDD775E}" dt="2020-10-22T11:41:19.250" v="50" actId="20577"/>
          <ac:spMkLst>
            <pc:docMk/>
            <pc:sldMk cId="1127002852" sldId="333"/>
            <ac:spMk id="3" creationId="{DD9924C0-F0EC-45BF-8C30-3AA8ED38146D}"/>
          </ac:spMkLst>
        </pc:spChg>
      </pc:sldChg>
    </pc:docChg>
  </pc:docChgLst>
  <pc:docChgLst>
    <pc:chgData name="Jonsson Åsa" userId="S::asa.jonsson@inera.se::e7c157ac-c4f4-446a-aea7-2d9507f60b0e" providerId="AD" clId="Web-{C43459EA-CA71-4296-8406-C1A6217EE5F9}"/>
    <pc:docChg chg="modSld">
      <pc:chgData name="Jonsson Åsa" userId="S::asa.jonsson@inera.se::e7c157ac-c4f4-446a-aea7-2d9507f60b0e" providerId="AD" clId="Web-{C43459EA-CA71-4296-8406-C1A6217EE5F9}" dt="2020-10-23T07:32:44.850" v="39" actId="20577"/>
      <pc:docMkLst>
        <pc:docMk/>
      </pc:docMkLst>
      <pc:sldChg chg="addSp delSp modSp">
        <pc:chgData name="Jonsson Åsa" userId="S::asa.jonsson@inera.se::e7c157ac-c4f4-446a-aea7-2d9507f60b0e" providerId="AD" clId="Web-{C43459EA-CA71-4296-8406-C1A6217EE5F9}" dt="2020-10-23T07:32:44.850" v="39" actId="20577"/>
        <pc:sldMkLst>
          <pc:docMk/>
          <pc:sldMk cId="868890630" sldId="338"/>
        </pc:sldMkLst>
        <pc:spChg chg="mod">
          <ac:chgData name="Jonsson Åsa" userId="S::asa.jonsson@inera.se::e7c157ac-c4f4-446a-aea7-2d9507f60b0e" providerId="AD" clId="Web-{C43459EA-CA71-4296-8406-C1A6217EE5F9}" dt="2020-10-23T07:31:18.207" v="25" actId="20577"/>
          <ac:spMkLst>
            <pc:docMk/>
            <pc:sldMk cId="868890630" sldId="338"/>
            <ac:spMk id="3" creationId="{1F6A61D0-C9A9-4590-A7BC-2BC87D50447B}"/>
          </ac:spMkLst>
        </pc:spChg>
        <pc:spChg chg="mod">
          <ac:chgData name="Jonsson Åsa" userId="S::asa.jonsson@inera.se::e7c157ac-c4f4-446a-aea7-2d9507f60b0e" providerId="AD" clId="Web-{C43459EA-CA71-4296-8406-C1A6217EE5F9}" dt="2020-10-23T07:32:44.850" v="39" actId="20577"/>
          <ac:spMkLst>
            <pc:docMk/>
            <pc:sldMk cId="868890630" sldId="338"/>
            <ac:spMk id="4" creationId="{A3D50747-90DD-46B2-8D52-B5AEBF58670C}"/>
          </ac:spMkLst>
        </pc:spChg>
        <pc:picChg chg="add del">
          <ac:chgData name="Jonsson Åsa" userId="S::asa.jonsson@inera.se::e7c157ac-c4f4-446a-aea7-2d9507f60b0e" providerId="AD" clId="Web-{C43459EA-CA71-4296-8406-C1A6217EE5F9}" dt="2020-10-23T07:31:36.629" v="34"/>
          <ac:picMkLst>
            <pc:docMk/>
            <pc:sldMk cId="868890630" sldId="338"/>
            <ac:picMk id="2" creationId="{C24AF4CC-E072-4FE3-AB5E-F6A8507C334B}"/>
          </ac:picMkLst>
        </pc:picChg>
      </pc:sldChg>
    </pc:docChg>
  </pc:docChgLst>
  <pc:docChgLst>
    <pc:chgData name="Axelsson Jenny" userId="S::jenny.axelsson@inera.se::35153831-a041-4e19-963c-026d50be729b" providerId="AD" clId="Web-{A1BEB994-98DA-4C35-8553-B19DB8A10311}"/>
    <pc:docChg chg="modSld">
      <pc:chgData name="Axelsson Jenny" userId="S::jenny.axelsson@inera.se::35153831-a041-4e19-963c-026d50be729b" providerId="AD" clId="Web-{A1BEB994-98DA-4C35-8553-B19DB8A10311}" dt="2020-10-23T08:03:56.340" v="15" actId="20577"/>
      <pc:docMkLst>
        <pc:docMk/>
      </pc:docMkLst>
      <pc:sldChg chg="modSp">
        <pc:chgData name="Axelsson Jenny" userId="S::jenny.axelsson@inera.se::35153831-a041-4e19-963c-026d50be729b" providerId="AD" clId="Web-{A1BEB994-98DA-4C35-8553-B19DB8A10311}" dt="2020-10-23T08:03:56.340" v="15" actId="20577"/>
        <pc:sldMkLst>
          <pc:docMk/>
          <pc:sldMk cId="3621122691" sldId="330"/>
        </pc:sldMkLst>
        <pc:spChg chg="mod">
          <ac:chgData name="Axelsson Jenny" userId="S::jenny.axelsson@inera.se::35153831-a041-4e19-963c-026d50be729b" providerId="AD" clId="Web-{A1BEB994-98DA-4C35-8553-B19DB8A10311}" dt="2020-10-23T08:00:15.335" v="3" actId="20577"/>
          <ac:spMkLst>
            <pc:docMk/>
            <pc:sldMk cId="3621122691" sldId="330"/>
            <ac:spMk id="4" creationId="{A3D50747-90DD-46B2-8D52-B5AEBF58670C}"/>
          </ac:spMkLst>
        </pc:spChg>
        <pc:spChg chg="mod">
          <ac:chgData name="Axelsson Jenny" userId="S::jenny.axelsson@inera.se::35153831-a041-4e19-963c-026d50be729b" providerId="AD" clId="Web-{A1BEB994-98DA-4C35-8553-B19DB8A10311}" dt="2020-10-23T08:03:56.340" v="15" actId="20577"/>
          <ac:spMkLst>
            <pc:docMk/>
            <pc:sldMk cId="3621122691" sldId="330"/>
            <ac:spMk id="7" creationId="{8713E689-BD7A-4C25-B53E-EE9441DA6417}"/>
          </ac:spMkLst>
        </pc:spChg>
      </pc:sldChg>
      <pc:sldChg chg="modSp">
        <pc:chgData name="Axelsson Jenny" userId="S::jenny.axelsson@inera.se::35153831-a041-4e19-963c-026d50be729b" providerId="AD" clId="Web-{A1BEB994-98DA-4C35-8553-B19DB8A10311}" dt="2020-10-23T07:59:05.271" v="1" actId="20577"/>
        <pc:sldMkLst>
          <pc:docMk/>
          <pc:sldMk cId="1517448407" sldId="335"/>
        </pc:sldMkLst>
        <pc:spChg chg="mod">
          <ac:chgData name="Axelsson Jenny" userId="S::jenny.axelsson@inera.se::35153831-a041-4e19-963c-026d50be729b" providerId="AD" clId="Web-{A1BEB994-98DA-4C35-8553-B19DB8A10311}" dt="2020-10-23T07:59:05.271" v="1" actId="20577"/>
          <ac:spMkLst>
            <pc:docMk/>
            <pc:sldMk cId="1517448407" sldId="335"/>
            <ac:spMk id="4" creationId="{A3D50747-90DD-46B2-8D52-B5AEBF58670C}"/>
          </ac:spMkLst>
        </pc:spChg>
      </pc:sldChg>
    </pc:docChg>
  </pc:docChgLst>
  <pc:docChgLst>
    <pc:chgData name="Axelsson Jenny" userId="S::jenny.axelsson@inera.se::35153831-a041-4e19-963c-026d50be729b" providerId="AD" clId="Web-{8505F7C8-A96F-4020-B60F-A67082FC46FF}"/>
    <pc:docChg chg="addSld delSld">
      <pc:chgData name="Axelsson Jenny" userId="S::jenny.axelsson@inera.se::35153831-a041-4e19-963c-026d50be729b" providerId="AD" clId="Web-{8505F7C8-A96F-4020-B60F-A67082FC46FF}" dt="2020-03-19T09:54:25.514" v="1"/>
      <pc:docMkLst>
        <pc:docMk/>
      </pc:docMkLst>
      <pc:sldChg chg="new del">
        <pc:chgData name="Axelsson Jenny" userId="S::jenny.axelsson@inera.se::35153831-a041-4e19-963c-026d50be729b" providerId="AD" clId="Web-{8505F7C8-A96F-4020-B60F-A67082FC46FF}" dt="2020-03-19T09:54:25.514" v="1"/>
        <pc:sldMkLst>
          <pc:docMk/>
          <pc:sldMk cId="1024467020" sldId="321"/>
        </pc:sldMkLst>
      </pc:sldChg>
    </pc:docChg>
  </pc:docChgLst>
  <pc:docChgLst>
    <pc:chgData name="Axelsson Jenny" userId="S::jenny.axelsson@inera.se::35153831-a041-4e19-963c-026d50be729b" providerId="AD" clId="Web-{CAAA0C0C-0A6B-460D-A62E-E072D989325F}"/>
    <pc:docChg chg="modSld">
      <pc:chgData name="Axelsson Jenny" userId="S::jenny.axelsson@inera.se::35153831-a041-4e19-963c-026d50be729b" providerId="AD" clId="Web-{CAAA0C0C-0A6B-460D-A62E-E072D989325F}" dt="2020-10-22T07:45:02.787" v="101" actId="20577"/>
      <pc:docMkLst>
        <pc:docMk/>
      </pc:docMkLst>
      <pc:sldChg chg="modSp">
        <pc:chgData name="Axelsson Jenny" userId="S::jenny.axelsson@inera.se::35153831-a041-4e19-963c-026d50be729b" providerId="AD" clId="Web-{CAAA0C0C-0A6B-460D-A62E-E072D989325F}" dt="2020-10-22T07:45:02.787" v="101" actId="20577"/>
        <pc:sldMkLst>
          <pc:docMk/>
          <pc:sldMk cId="3621122691" sldId="330"/>
        </pc:sldMkLst>
        <pc:spChg chg="mod">
          <ac:chgData name="Axelsson Jenny" userId="S::jenny.axelsson@inera.se::35153831-a041-4e19-963c-026d50be729b" providerId="AD" clId="Web-{CAAA0C0C-0A6B-460D-A62E-E072D989325F}" dt="2020-10-22T07:45:02.787" v="101" actId="20577"/>
          <ac:spMkLst>
            <pc:docMk/>
            <pc:sldMk cId="3621122691" sldId="330"/>
            <ac:spMk id="4" creationId="{A3D50747-90DD-46B2-8D52-B5AEBF58670C}"/>
          </ac:spMkLst>
        </pc:spChg>
      </pc:sldChg>
    </pc:docChg>
  </pc:docChgLst>
  <pc:docChgLst>
    <pc:chgData name="Axelsson Jenny" userId="S::jenny.axelsson@inera.se::35153831-a041-4e19-963c-026d50be729b" providerId="AD" clId="Web-{5CF20EF5-6181-4803-858B-1D03E9FE011A}"/>
    <pc:docChg chg="delSld">
      <pc:chgData name="Axelsson Jenny" userId="S::jenny.axelsson@inera.se::35153831-a041-4e19-963c-026d50be729b" providerId="AD" clId="Web-{5CF20EF5-6181-4803-858B-1D03E9FE011A}" dt="2020-03-10T11:37:46.548" v="0"/>
      <pc:docMkLst>
        <pc:docMk/>
      </pc:docMkLst>
      <pc:sldChg chg="del">
        <pc:chgData name="Axelsson Jenny" userId="S::jenny.axelsson@inera.se::35153831-a041-4e19-963c-026d50be729b" providerId="AD" clId="Web-{5CF20EF5-6181-4803-858B-1D03E9FE011A}" dt="2020-03-10T11:37:46.548" v="0"/>
        <pc:sldMkLst>
          <pc:docMk/>
          <pc:sldMk cId="3796863757" sldId="313"/>
        </pc:sldMkLst>
      </pc:sldChg>
    </pc:docChg>
  </pc:docChgLst>
  <pc:docChgLst>
    <pc:chgData name="Axelsson Jenny" userId="S::jenny.axelsson@inera.se::35153831-a041-4e19-963c-026d50be729b" providerId="AD" clId="Web-{14929CD5-B4DC-45E3-9153-630B75B33F00}"/>
    <pc:docChg chg="addSld modSld">
      <pc:chgData name="Axelsson Jenny" userId="S::jenny.axelsson@inera.se::35153831-a041-4e19-963c-026d50be729b" providerId="AD" clId="Web-{14929CD5-B4DC-45E3-9153-630B75B33F00}" dt="2020-10-21T14:31:22.477" v="864"/>
      <pc:docMkLst>
        <pc:docMk/>
      </pc:docMkLst>
      <pc:sldChg chg="modSp">
        <pc:chgData name="Axelsson Jenny" userId="S::jenny.axelsson@inera.se::35153831-a041-4e19-963c-026d50be729b" providerId="AD" clId="Web-{14929CD5-B4DC-45E3-9153-630B75B33F00}" dt="2020-10-21T13:44:20.150" v="0" actId="1076"/>
        <pc:sldMkLst>
          <pc:docMk/>
          <pc:sldMk cId="462872649" sldId="275"/>
        </pc:sldMkLst>
        <pc:spChg chg="mod">
          <ac:chgData name="Axelsson Jenny" userId="S::jenny.axelsson@inera.se::35153831-a041-4e19-963c-026d50be729b" providerId="AD" clId="Web-{14929CD5-B4DC-45E3-9153-630B75B33F00}" dt="2020-10-21T13:44:20.150" v="0" actId="1076"/>
          <ac:spMkLst>
            <pc:docMk/>
            <pc:sldMk cId="462872649" sldId="275"/>
            <ac:spMk id="3" creationId="{36594C08-4DB2-417A-96A5-74100ED03812}"/>
          </ac:spMkLst>
        </pc:spChg>
      </pc:sldChg>
      <pc:sldChg chg="addSp delSp modSp new mod modClrScheme chgLayout">
        <pc:chgData name="Axelsson Jenny" userId="S::jenny.axelsson@inera.se::35153831-a041-4e19-963c-026d50be729b" providerId="AD" clId="Web-{14929CD5-B4DC-45E3-9153-630B75B33F00}" dt="2020-10-21T13:58:56.294" v="691" actId="20577"/>
        <pc:sldMkLst>
          <pc:docMk/>
          <pc:sldMk cId="3621122691" sldId="330"/>
        </pc:sldMkLst>
        <pc:spChg chg="del mod ord">
          <ac:chgData name="Axelsson Jenny" userId="S::jenny.axelsson@inera.se::35153831-a041-4e19-963c-026d50be729b" providerId="AD" clId="Web-{14929CD5-B4DC-45E3-9153-630B75B33F00}" dt="2020-10-21T13:48:13.546" v="212"/>
          <ac:spMkLst>
            <pc:docMk/>
            <pc:sldMk cId="3621122691" sldId="330"/>
            <ac:spMk id="2" creationId="{3BEF56FE-C047-45FA-9E0E-AFEC49D53EA4}"/>
          </ac:spMkLst>
        </pc:spChg>
        <pc:spChg chg="mod ord">
          <ac:chgData name="Axelsson Jenny" userId="S::jenny.axelsson@inera.se::35153831-a041-4e19-963c-026d50be729b" providerId="AD" clId="Web-{14929CD5-B4DC-45E3-9153-630B75B33F00}" dt="2020-10-21T13:45:12.292" v="24" actId="20577"/>
          <ac:spMkLst>
            <pc:docMk/>
            <pc:sldMk cId="3621122691" sldId="330"/>
            <ac:spMk id="3" creationId="{1F6A61D0-C9A9-4590-A7BC-2BC87D50447B}"/>
          </ac:spMkLst>
        </pc:spChg>
        <pc:spChg chg="mod ord">
          <ac:chgData name="Axelsson Jenny" userId="S::jenny.axelsson@inera.se::35153831-a041-4e19-963c-026d50be729b" providerId="AD" clId="Web-{14929CD5-B4DC-45E3-9153-630B75B33F00}" dt="2020-10-21T13:58:56.294" v="691" actId="20577"/>
          <ac:spMkLst>
            <pc:docMk/>
            <pc:sldMk cId="3621122691" sldId="330"/>
            <ac:spMk id="4" creationId="{A3D50747-90DD-46B2-8D52-B5AEBF58670C}"/>
          </ac:spMkLst>
        </pc:spChg>
        <pc:spChg chg="add del mod">
          <ac:chgData name="Axelsson Jenny" userId="S::jenny.axelsson@inera.se::35153831-a041-4e19-963c-026d50be729b" providerId="AD" clId="Web-{14929CD5-B4DC-45E3-9153-630B75B33F00}" dt="2020-10-21T13:48:45.437" v="259"/>
          <ac:spMkLst>
            <pc:docMk/>
            <pc:sldMk cId="3621122691" sldId="330"/>
            <ac:spMk id="5" creationId="{1F6D4C8F-0368-4423-B129-AC605A21356E}"/>
          </ac:spMkLst>
        </pc:spChg>
        <pc:spChg chg="add mod">
          <ac:chgData name="Axelsson Jenny" userId="S::jenny.axelsson@inera.se::35153831-a041-4e19-963c-026d50be729b" providerId="AD" clId="Web-{14929CD5-B4DC-45E3-9153-630B75B33F00}" dt="2020-10-21T13:54:50.664" v="441" actId="1076"/>
          <ac:spMkLst>
            <pc:docMk/>
            <pc:sldMk cId="3621122691" sldId="330"/>
            <ac:spMk id="7" creationId="{8713E689-BD7A-4C25-B53E-EE9441DA6417}"/>
          </ac:spMkLst>
        </pc:spChg>
      </pc:sldChg>
      <pc:sldChg chg="addSp delSp modSp new addAnim modAnim">
        <pc:chgData name="Axelsson Jenny" userId="S::jenny.axelsson@inera.se::35153831-a041-4e19-963c-026d50be729b" providerId="AD" clId="Web-{14929CD5-B4DC-45E3-9153-630B75B33F00}" dt="2020-10-21T14:23:46.764" v="817"/>
        <pc:sldMkLst>
          <pc:docMk/>
          <pc:sldMk cId="2323421040" sldId="331"/>
        </pc:sldMkLst>
        <pc:spChg chg="mod">
          <ac:chgData name="Axelsson Jenny" userId="S::jenny.axelsson@inera.se::35153831-a041-4e19-963c-026d50be729b" providerId="AD" clId="Web-{14929CD5-B4DC-45E3-9153-630B75B33F00}" dt="2020-10-21T13:55:48.337" v="451" actId="20577"/>
          <ac:spMkLst>
            <pc:docMk/>
            <pc:sldMk cId="2323421040" sldId="331"/>
            <ac:spMk id="2" creationId="{9EA8EE2D-26E4-4F37-825E-E85E830A588D}"/>
          </ac:spMkLst>
        </pc:spChg>
        <pc:spChg chg="mod">
          <ac:chgData name="Axelsson Jenny" userId="S::jenny.axelsson@inera.se::35153831-a041-4e19-963c-026d50be729b" providerId="AD" clId="Web-{14929CD5-B4DC-45E3-9153-630B75B33F00}" dt="2020-10-21T14:21:25.136" v="793" actId="14100"/>
          <ac:spMkLst>
            <pc:docMk/>
            <pc:sldMk cId="2323421040" sldId="331"/>
            <ac:spMk id="3" creationId="{DD9924C0-F0EC-45BF-8C30-3AA8ED38146D}"/>
          </ac:spMkLst>
        </pc:spChg>
        <pc:spChg chg="del">
          <ac:chgData name="Axelsson Jenny" userId="S::jenny.axelsson@inera.se::35153831-a041-4e19-963c-026d50be729b" providerId="AD" clId="Web-{14929CD5-B4DC-45E3-9153-630B75B33F00}" dt="2020-10-21T14:08:04.915" v="744"/>
          <ac:spMkLst>
            <pc:docMk/>
            <pc:sldMk cId="2323421040" sldId="331"/>
            <ac:spMk id="6" creationId="{523970F1-C0B2-4D3E-A171-AFF1206321C1}"/>
          </ac:spMkLst>
        </pc:spChg>
        <pc:spChg chg="add mod">
          <ac:chgData name="Axelsson Jenny" userId="S::jenny.axelsson@inera.se::35153831-a041-4e19-963c-026d50be729b" providerId="AD" clId="Web-{14929CD5-B4DC-45E3-9153-630B75B33F00}" dt="2020-10-21T14:22:21.606" v="814" actId="1076"/>
          <ac:spMkLst>
            <pc:docMk/>
            <pc:sldMk cId="2323421040" sldId="331"/>
            <ac:spMk id="10" creationId="{2C5807B5-C025-420C-8C65-F3258AFFF2C8}"/>
          </ac:spMkLst>
        </pc:spChg>
        <pc:picChg chg="add mod ord modCrop">
          <ac:chgData name="Axelsson Jenny" userId="S::jenny.axelsson@inera.se::35153831-a041-4e19-963c-026d50be729b" providerId="AD" clId="Web-{14929CD5-B4DC-45E3-9153-630B75B33F00}" dt="2020-10-21T14:08:20.728" v="749" actId="1076"/>
          <ac:picMkLst>
            <pc:docMk/>
            <pc:sldMk cId="2323421040" sldId="331"/>
            <ac:picMk id="7" creationId="{6BBEE294-C75C-4D4E-AFEB-88DD030EB43E}"/>
          </ac:picMkLst>
        </pc:picChg>
        <pc:picChg chg="add del mod">
          <ac:chgData name="Axelsson Jenny" userId="S::jenny.axelsson@inera.se::35153831-a041-4e19-963c-026d50be729b" providerId="AD" clId="Web-{14929CD5-B4DC-45E3-9153-630B75B33F00}" dt="2020-10-21T14:21:29.698" v="796"/>
          <ac:picMkLst>
            <pc:docMk/>
            <pc:sldMk cId="2323421040" sldId="331"/>
            <ac:picMk id="8" creationId="{46510807-91CA-4E05-A064-736B2486BE59}"/>
          </ac:picMkLst>
        </pc:picChg>
      </pc:sldChg>
      <pc:sldChg chg="addSp delSp modSp new mod modClrScheme addAnim modAnim chgLayout">
        <pc:chgData name="Axelsson Jenny" userId="S::jenny.axelsson@inera.se::35153831-a041-4e19-963c-026d50be729b" providerId="AD" clId="Web-{14929CD5-B4DC-45E3-9153-630B75B33F00}" dt="2020-10-21T14:31:22.477" v="864"/>
        <pc:sldMkLst>
          <pc:docMk/>
          <pc:sldMk cId="2877388535" sldId="332"/>
        </pc:sldMkLst>
        <pc:spChg chg="del mod">
          <ac:chgData name="Axelsson Jenny" userId="S::jenny.axelsson@inera.se::35153831-a041-4e19-963c-026d50be729b" providerId="AD" clId="Web-{14929CD5-B4DC-45E3-9153-630B75B33F00}" dt="2020-10-21T14:26:27.845" v="824"/>
          <ac:spMkLst>
            <pc:docMk/>
            <pc:sldMk cId="2877388535" sldId="332"/>
            <ac:spMk id="2" creationId="{24820EB0-E4B0-4308-ACA3-9769AFCAE176}"/>
          </ac:spMkLst>
        </pc:spChg>
        <pc:spChg chg="del mod">
          <ac:chgData name="Axelsson Jenny" userId="S::jenny.axelsson@inera.se::35153831-a041-4e19-963c-026d50be729b" providerId="AD" clId="Web-{14929CD5-B4DC-45E3-9153-630B75B33F00}" dt="2020-10-21T14:21:08.307" v="790"/>
          <ac:spMkLst>
            <pc:docMk/>
            <pc:sldMk cId="2877388535" sldId="332"/>
            <ac:spMk id="3" creationId="{09514E9E-E20E-4A10-9962-4238D90B86BF}"/>
          </ac:spMkLst>
        </pc:spChg>
        <pc:spChg chg="add del">
          <ac:chgData name="Axelsson Jenny" userId="S::jenny.axelsson@inera.se::35153831-a041-4e19-963c-026d50be729b" providerId="AD" clId="Web-{14929CD5-B4DC-45E3-9153-630B75B33F00}" dt="2020-10-21T14:26:18.142" v="822"/>
          <ac:spMkLst>
            <pc:docMk/>
            <pc:sldMk cId="2877388535" sldId="332"/>
            <ac:spMk id="4" creationId="{7C75788D-D056-4E1C-A0B2-B6D488546093}"/>
          </ac:spMkLst>
        </pc:spChg>
        <pc:spChg chg="mod ord modVis">
          <ac:chgData name="Axelsson Jenny" userId="S::jenny.axelsson@inera.se::35153831-a041-4e19-963c-026d50be729b" providerId="AD" clId="Web-{14929CD5-B4DC-45E3-9153-630B75B33F00}" dt="2020-10-21T14:26:18.142" v="822"/>
          <ac:spMkLst>
            <pc:docMk/>
            <pc:sldMk cId="2877388535" sldId="332"/>
            <ac:spMk id="5" creationId="{F3F8E465-E035-413E-B89A-4F3C7548DA2F}"/>
          </ac:spMkLst>
        </pc:spChg>
        <pc:spChg chg="del mod">
          <ac:chgData name="Axelsson Jenny" userId="S::jenny.axelsson@inera.se::35153831-a041-4e19-963c-026d50be729b" providerId="AD" clId="Web-{14929CD5-B4DC-45E3-9153-630B75B33F00}" dt="2020-10-21T14:19:40.602" v="762"/>
          <ac:spMkLst>
            <pc:docMk/>
            <pc:sldMk cId="2877388535" sldId="332"/>
            <ac:spMk id="6" creationId="{82D3B1D4-784A-44A2-B90C-3F849D649732}"/>
          </ac:spMkLst>
        </pc:spChg>
        <pc:spChg chg="add del mod">
          <ac:chgData name="Axelsson Jenny" userId="S::jenny.axelsson@inera.se::35153831-a041-4e19-963c-026d50be729b" providerId="AD" clId="Web-{14929CD5-B4DC-45E3-9153-630B75B33F00}" dt="2020-10-21T14:20:05.087" v="770"/>
          <ac:spMkLst>
            <pc:docMk/>
            <pc:sldMk cId="2877388535" sldId="332"/>
            <ac:spMk id="9" creationId="{F41A3807-0FF4-43A0-BBC8-7C17437C1CE8}"/>
          </ac:spMkLst>
        </pc:spChg>
        <pc:spChg chg="add del mod">
          <ac:chgData name="Axelsson Jenny" userId="S::jenny.axelsson@inera.se::35153831-a041-4e19-963c-026d50be729b" providerId="AD" clId="Web-{14929CD5-B4DC-45E3-9153-630B75B33F00}" dt="2020-10-21T14:20:54.276" v="786"/>
          <ac:spMkLst>
            <pc:docMk/>
            <pc:sldMk cId="2877388535" sldId="332"/>
            <ac:spMk id="12" creationId="{C9EDEA83-2989-4D06-9774-8932047CE8AD}"/>
          </ac:spMkLst>
        </pc:spChg>
        <pc:spChg chg="add del mod">
          <ac:chgData name="Axelsson Jenny" userId="S::jenny.axelsson@inera.se::35153831-a041-4e19-963c-026d50be729b" providerId="AD" clId="Web-{14929CD5-B4DC-45E3-9153-630B75B33F00}" dt="2020-10-21T14:26:18.126" v="821"/>
          <ac:spMkLst>
            <pc:docMk/>
            <pc:sldMk cId="2877388535" sldId="332"/>
            <ac:spMk id="16" creationId="{79D2C955-C077-4A73-994C-58AD21F328FF}"/>
          </ac:spMkLst>
        </pc:spChg>
        <pc:spChg chg="add mod">
          <ac:chgData name="Axelsson Jenny" userId="S::jenny.axelsson@inera.se::35153831-a041-4e19-963c-026d50be729b" providerId="AD" clId="Web-{14929CD5-B4DC-45E3-9153-630B75B33F00}" dt="2020-10-21T14:26:18.142" v="822"/>
          <ac:spMkLst>
            <pc:docMk/>
            <pc:sldMk cId="2877388535" sldId="332"/>
            <ac:spMk id="17" creationId="{D48DB342-9D5E-4D9B-87AE-DB44BB2C588A}"/>
          </ac:spMkLst>
        </pc:spChg>
        <pc:spChg chg="add del mod">
          <ac:chgData name="Axelsson Jenny" userId="S::jenny.axelsson@inera.se::35153831-a041-4e19-963c-026d50be729b" providerId="AD" clId="Web-{14929CD5-B4DC-45E3-9153-630B75B33F00}" dt="2020-10-21T14:27:00.096" v="827"/>
          <ac:spMkLst>
            <pc:docMk/>
            <pc:sldMk cId="2877388535" sldId="332"/>
            <ac:spMk id="18" creationId="{082CED30-76BD-4FDD-8B59-36AB4E21CF76}"/>
          </ac:spMkLst>
        </pc:spChg>
        <pc:spChg chg="add del mod">
          <ac:chgData name="Axelsson Jenny" userId="S::jenny.axelsson@inera.se::35153831-a041-4e19-963c-026d50be729b" providerId="AD" clId="Web-{14929CD5-B4DC-45E3-9153-630B75B33F00}" dt="2020-10-21T14:26:12.626" v="819"/>
          <ac:spMkLst>
            <pc:docMk/>
            <pc:sldMk cId="2877388535" sldId="332"/>
            <ac:spMk id="19" creationId="{1401829D-1396-43B0-9E9C-3A2FD3F5F7E7}"/>
          </ac:spMkLst>
        </pc:spChg>
        <pc:spChg chg="add mod">
          <ac:chgData name="Axelsson Jenny" userId="S::jenny.axelsson@inera.se::35153831-a041-4e19-963c-026d50be729b" providerId="AD" clId="Web-{14929CD5-B4DC-45E3-9153-630B75B33F00}" dt="2020-10-21T14:26:53.877" v="826" actId="20577"/>
          <ac:spMkLst>
            <pc:docMk/>
            <pc:sldMk cId="2877388535" sldId="332"/>
            <ac:spMk id="21" creationId="{DC6CA635-68C5-440A-AC0A-2A033E15D383}"/>
          </ac:spMkLst>
        </pc:spChg>
        <pc:spChg chg="add mod">
          <ac:chgData name="Axelsson Jenny" userId="S::jenny.axelsson@inera.se::35153831-a041-4e19-963c-026d50be729b" providerId="AD" clId="Web-{14929CD5-B4DC-45E3-9153-630B75B33F00}" dt="2020-10-21T14:30:50.085" v="861" actId="20577"/>
          <ac:spMkLst>
            <pc:docMk/>
            <pc:sldMk cId="2877388535" sldId="332"/>
            <ac:spMk id="23" creationId="{363DE621-AA64-4F34-9E46-EFE72F572CD6}"/>
          </ac:spMkLst>
        </pc:spChg>
        <pc:picChg chg="add del mod ord modCrop">
          <ac:chgData name="Axelsson Jenny" userId="S::jenny.axelsson@inera.se::35153831-a041-4e19-963c-026d50be729b" providerId="AD" clId="Web-{14929CD5-B4DC-45E3-9153-630B75B33F00}" dt="2020-10-21T14:19:49.149" v="765"/>
          <ac:picMkLst>
            <pc:docMk/>
            <pc:sldMk cId="2877388535" sldId="332"/>
            <ac:picMk id="7" creationId="{0BD16C2B-5E12-4D2F-9BFA-AD6A3D15FE54}"/>
          </ac:picMkLst>
        </pc:picChg>
        <pc:picChg chg="add del mod ord modCrop">
          <ac:chgData name="Axelsson Jenny" userId="S::jenny.axelsson@inera.se::35153831-a041-4e19-963c-026d50be729b" providerId="AD" clId="Web-{14929CD5-B4DC-45E3-9153-630B75B33F00}" dt="2020-10-21T14:20:11.572" v="772"/>
          <ac:picMkLst>
            <pc:docMk/>
            <pc:sldMk cId="2877388535" sldId="332"/>
            <ac:picMk id="10" creationId="{CDA838C0-5A0E-4995-8D8C-A5950E4B6634}"/>
          </ac:picMkLst>
        </pc:picChg>
        <pc:picChg chg="add del mod ord modCrop">
          <ac:chgData name="Axelsson Jenny" userId="S::jenny.axelsson@inera.se::35153831-a041-4e19-963c-026d50be729b" providerId="AD" clId="Web-{14929CD5-B4DC-45E3-9153-630B75B33F00}" dt="2020-10-21T14:20:47.401" v="784"/>
          <ac:picMkLst>
            <pc:docMk/>
            <pc:sldMk cId="2877388535" sldId="332"/>
            <ac:picMk id="13" creationId="{B68A7863-D446-4056-991B-948F30F449EC}"/>
          </ac:picMkLst>
        </pc:picChg>
        <pc:picChg chg="add mod ord modCrop">
          <ac:chgData name="Axelsson Jenny" userId="S::jenny.axelsson@inera.se::35153831-a041-4e19-963c-026d50be729b" providerId="AD" clId="Web-{14929CD5-B4DC-45E3-9153-630B75B33F00}" dt="2020-10-21T14:30:28.663" v="857" actId="1076"/>
          <ac:picMkLst>
            <pc:docMk/>
            <pc:sldMk cId="2877388535" sldId="332"/>
            <ac:picMk id="14" creationId="{69D3EAE1-61BE-4A55-899A-4B37681EB13C}"/>
          </ac:picMkLst>
        </pc:picChg>
      </pc:sldChg>
      <pc:sldChg chg="modSp add replId">
        <pc:chgData name="Axelsson Jenny" userId="S::jenny.axelsson@inera.se::35153831-a041-4e19-963c-026d50be729b" providerId="AD" clId="Web-{14929CD5-B4DC-45E3-9153-630B75B33F00}" dt="2020-10-21T14:29:47.600" v="839" actId="20577"/>
        <pc:sldMkLst>
          <pc:docMk/>
          <pc:sldMk cId="1127002852" sldId="333"/>
        </pc:sldMkLst>
        <pc:spChg chg="mod">
          <ac:chgData name="Axelsson Jenny" userId="S::jenny.axelsson@inera.se::35153831-a041-4e19-963c-026d50be729b" providerId="AD" clId="Web-{14929CD5-B4DC-45E3-9153-630B75B33F00}" dt="2020-10-21T14:29:47.600" v="839" actId="20577"/>
          <ac:spMkLst>
            <pc:docMk/>
            <pc:sldMk cId="1127002852" sldId="333"/>
            <ac:spMk id="3" creationId="{DD9924C0-F0EC-45BF-8C30-3AA8ED38146D}"/>
          </ac:spMkLst>
        </pc:spChg>
      </pc:sldChg>
    </pc:docChg>
  </pc:docChgLst>
  <pc:docChgLst>
    <pc:chgData name="Nordqvist Anne-Louise" userId="S::anne-louise.nordqvist@inera.se::298fd2ba-5879-4078-9dd0-cb16eef6a860" providerId="AD" clId="Web-{003F4AD6-D5C1-45B6-97E9-F7F8CB07F34C}"/>
    <pc:docChg chg="addSld modSld">
      <pc:chgData name="Nordqvist Anne-Louise" userId="S::anne-louise.nordqvist@inera.se::298fd2ba-5879-4078-9dd0-cb16eef6a860" providerId="AD" clId="Web-{003F4AD6-D5C1-45B6-97E9-F7F8CB07F34C}" dt="2020-10-23T07:10:05.739" v="278" actId="1076"/>
      <pc:docMkLst>
        <pc:docMk/>
      </pc:docMkLst>
      <pc:sldChg chg="modSp add replId">
        <pc:chgData name="Nordqvist Anne-Louise" userId="S::anne-louise.nordqvist@inera.se::298fd2ba-5879-4078-9dd0-cb16eef6a860" providerId="AD" clId="Web-{003F4AD6-D5C1-45B6-97E9-F7F8CB07F34C}" dt="2020-10-23T07:10:05.739" v="278" actId="1076"/>
        <pc:sldMkLst>
          <pc:docMk/>
          <pc:sldMk cId="3308181265" sldId="337"/>
        </pc:sldMkLst>
        <pc:spChg chg="mod">
          <ac:chgData name="Nordqvist Anne-Louise" userId="S::anne-louise.nordqvist@inera.se::298fd2ba-5879-4078-9dd0-cb16eef6a860" providerId="AD" clId="Web-{003F4AD6-D5C1-45B6-97E9-F7F8CB07F34C}" dt="2020-10-23T07:06:32.547" v="17" actId="20577"/>
          <ac:spMkLst>
            <pc:docMk/>
            <pc:sldMk cId="3308181265" sldId="337"/>
            <ac:spMk id="2" creationId="{28142FAB-2177-42C2-83A7-B8FCD6F5DAB5}"/>
          </ac:spMkLst>
        </pc:spChg>
        <pc:spChg chg="mod">
          <ac:chgData name="Nordqvist Anne-Louise" userId="S::anne-louise.nordqvist@inera.se::298fd2ba-5879-4078-9dd0-cb16eef6a860" providerId="AD" clId="Web-{003F4AD6-D5C1-45B6-97E9-F7F8CB07F34C}" dt="2020-10-23T07:10:05.739" v="278" actId="1076"/>
          <ac:spMkLst>
            <pc:docMk/>
            <pc:sldMk cId="3308181265" sldId="337"/>
            <ac:spMk id="3" creationId="{28E8375E-288E-4539-ABE4-FC3D347AF916}"/>
          </ac:spMkLst>
        </pc:spChg>
      </pc:sldChg>
    </pc:docChg>
  </pc:docChgLst>
  <pc:docChgLst>
    <pc:chgData name="Axelsson Jenny" userId="35153831-a041-4e19-963c-026d50be729b" providerId="ADAL" clId="{B2E5886A-ABDB-4127-85CD-9314B6D84B8D}"/>
    <pc:docChg chg="undo custSel addSld delSld modSld">
      <pc:chgData name="Axelsson Jenny" userId="35153831-a041-4e19-963c-026d50be729b" providerId="ADAL" clId="{B2E5886A-ABDB-4127-85CD-9314B6D84B8D}" dt="2020-01-24T12:01:16.339" v="448"/>
      <pc:docMkLst>
        <pc:docMk/>
      </pc:docMkLst>
      <pc:sldChg chg="modSp">
        <pc:chgData name="Axelsson Jenny" userId="35153831-a041-4e19-963c-026d50be729b" providerId="ADAL" clId="{B2E5886A-ABDB-4127-85CD-9314B6D84B8D}" dt="2020-01-20T13:45:36.978" v="53" actId="20577"/>
        <pc:sldMkLst>
          <pc:docMk/>
          <pc:sldMk cId="1351546238" sldId="267"/>
        </pc:sldMkLst>
        <pc:spChg chg="mod">
          <ac:chgData name="Axelsson Jenny" userId="35153831-a041-4e19-963c-026d50be729b" providerId="ADAL" clId="{B2E5886A-ABDB-4127-85CD-9314B6D84B8D}" dt="2020-01-20T13:45:36.978" v="53" actId="20577"/>
          <ac:spMkLst>
            <pc:docMk/>
            <pc:sldMk cId="1351546238" sldId="267"/>
            <ac:spMk id="5" creationId="{E66C5368-8331-464F-8C50-5BB97655E8A7}"/>
          </ac:spMkLst>
        </pc:spChg>
      </pc:sldChg>
      <pc:sldChg chg="modAnim">
        <pc:chgData name="Axelsson Jenny" userId="35153831-a041-4e19-963c-026d50be729b" providerId="ADAL" clId="{B2E5886A-ABDB-4127-85CD-9314B6D84B8D}" dt="2020-01-24T12:01:16.339" v="448"/>
        <pc:sldMkLst>
          <pc:docMk/>
          <pc:sldMk cId="3796863757" sldId="313"/>
        </pc:sldMkLst>
      </pc:sldChg>
      <pc:sldChg chg="add">
        <pc:chgData name="Axelsson Jenny" userId="35153831-a041-4e19-963c-026d50be729b" providerId="ADAL" clId="{B2E5886A-ABDB-4127-85CD-9314B6D84B8D}" dt="2020-01-24T12:00:54.917" v="444"/>
        <pc:sldMkLst>
          <pc:docMk/>
          <pc:sldMk cId="2668455938" sldId="316"/>
        </pc:sldMkLst>
      </pc:sldChg>
      <pc:sldChg chg="addSp delSp modSp add">
        <pc:chgData name="Axelsson Jenny" userId="35153831-a041-4e19-963c-026d50be729b" providerId="ADAL" clId="{B2E5886A-ABDB-4127-85CD-9314B6D84B8D}" dt="2020-01-20T14:22:39.779" v="426" actId="403"/>
        <pc:sldMkLst>
          <pc:docMk/>
          <pc:sldMk cId="1087366172" sldId="317"/>
        </pc:sldMkLst>
        <pc:spChg chg="mod">
          <ac:chgData name="Axelsson Jenny" userId="35153831-a041-4e19-963c-026d50be729b" providerId="ADAL" clId="{B2E5886A-ABDB-4127-85CD-9314B6D84B8D}" dt="2020-01-20T13:53:01.398" v="378" actId="1076"/>
          <ac:spMkLst>
            <pc:docMk/>
            <pc:sldMk cId="1087366172" sldId="317"/>
            <ac:spMk id="2" creationId="{28142FAB-2177-42C2-83A7-B8FCD6F5DAB5}"/>
          </ac:spMkLst>
        </pc:spChg>
        <pc:spChg chg="add del mod">
          <ac:chgData name="Axelsson Jenny" userId="35153831-a041-4e19-963c-026d50be729b" providerId="ADAL" clId="{B2E5886A-ABDB-4127-85CD-9314B6D84B8D}" dt="2020-01-20T13:52:54.813" v="376" actId="478"/>
          <ac:spMkLst>
            <pc:docMk/>
            <pc:sldMk cId="1087366172" sldId="317"/>
            <ac:spMk id="3" creationId="{FFAF5EEC-0936-4ED1-91D2-F11CD2AE839F}"/>
          </ac:spMkLst>
        </pc:spChg>
        <pc:spChg chg="mod">
          <ac:chgData name="Axelsson Jenny" userId="35153831-a041-4e19-963c-026d50be729b" providerId="ADAL" clId="{B2E5886A-ABDB-4127-85CD-9314B6D84B8D}" dt="2020-01-20T14:22:19.398" v="422" actId="14100"/>
          <ac:spMkLst>
            <pc:docMk/>
            <pc:sldMk cId="1087366172" sldId="317"/>
            <ac:spMk id="5" creationId="{E66C5368-8331-464F-8C50-5BB97655E8A7}"/>
          </ac:spMkLst>
        </pc:spChg>
        <pc:spChg chg="add del">
          <ac:chgData name="Axelsson Jenny" userId="35153831-a041-4e19-963c-026d50be729b" providerId="ADAL" clId="{B2E5886A-ABDB-4127-85CD-9314B6D84B8D}" dt="2020-01-20T13:52:44.182" v="371" actId="478"/>
          <ac:spMkLst>
            <pc:docMk/>
            <pc:sldMk cId="1087366172" sldId="317"/>
            <ac:spMk id="6" creationId="{8E8D1791-A655-44E9-A55B-03714C1DB25C}"/>
          </ac:spMkLst>
        </pc:spChg>
        <pc:spChg chg="add mod">
          <ac:chgData name="Axelsson Jenny" userId="35153831-a041-4e19-963c-026d50be729b" providerId="ADAL" clId="{B2E5886A-ABDB-4127-85CD-9314B6D84B8D}" dt="2020-01-20T14:22:39.779" v="426" actId="403"/>
          <ac:spMkLst>
            <pc:docMk/>
            <pc:sldMk cId="1087366172" sldId="317"/>
            <ac:spMk id="7" creationId="{4F1B58EF-0AF9-4835-911F-C3ECB385AAED}"/>
          </ac:spMkLst>
        </pc:spChg>
      </pc:sldChg>
      <pc:sldChg chg="addSp delSp modSp add">
        <pc:chgData name="Axelsson Jenny" userId="35153831-a041-4e19-963c-026d50be729b" providerId="ADAL" clId="{B2E5886A-ABDB-4127-85CD-9314B6D84B8D}" dt="2020-01-20T14:27:06.760" v="442" actId="1076"/>
        <pc:sldMkLst>
          <pc:docMk/>
          <pc:sldMk cId="3410182091" sldId="318"/>
        </pc:sldMkLst>
        <pc:spChg chg="mod">
          <ac:chgData name="Axelsson Jenny" userId="35153831-a041-4e19-963c-026d50be729b" providerId="ADAL" clId="{B2E5886A-ABDB-4127-85CD-9314B6D84B8D}" dt="2020-01-20T13:52:21.882" v="363" actId="20577"/>
          <ac:spMkLst>
            <pc:docMk/>
            <pc:sldMk cId="3410182091" sldId="318"/>
            <ac:spMk id="2" creationId="{28142FAB-2177-42C2-83A7-B8FCD6F5DAB5}"/>
          </ac:spMkLst>
        </pc:spChg>
        <pc:spChg chg="del mod">
          <ac:chgData name="Axelsson Jenny" userId="35153831-a041-4e19-963c-026d50be729b" providerId="ADAL" clId="{B2E5886A-ABDB-4127-85CD-9314B6D84B8D}" dt="2020-01-20T13:52:36.727" v="370" actId="478"/>
          <ac:spMkLst>
            <pc:docMk/>
            <pc:sldMk cId="3410182091" sldId="318"/>
            <ac:spMk id="3" creationId="{FFAF5EEC-0936-4ED1-91D2-F11CD2AE839F}"/>
          </ac:spMkLst>
        </pc:spChg>
        <pc:spChg chg="del mod">
          <ac:chgData name="Axelsson Jenny" userId="35153831-a041-4e19-963c-026d50be729b" providerId="ADAL" clId="{B2E5886A-ABDB-4127-85CD-9314B6D84B8D}" dt="2020-01-20T13:52:31.869" v="366" actId="478"/>
          <ac:spMkLst>
            <pc:docMk/>
            <pc:sldMk cId="3410182091" sldId="318"/>
            <ac:spMk id="5" creationId="{E66C5368-8331-464F-8C50-5BB97655E8A7}"/>
          </ac:spMkLst>
        </pc:spChg>
        <pc:spChg chg="del mod">
          <ac:chgData name="Axelsson Jenny" userId="35153831-a041-4e19-963c-026d50be729b" providerId="ADAL" clId="{B2E5886A-ABDB-4127-85CD-9314B6D84B8D}" dt="2020-01-20T13:52:34.629" v="368" actId="478"/>
          <ac:spMkLst>
            <pc:docMk/>
            <pc:sldMk cId="3410182091" sldId="318"/>
            <ac:spMk id="6" creationId="{8E8D1791-A655-44E9-A55B-03714C1DB25C}"/>
          </ac:spMkLst>
        </pc:spChg>
        <pc:picChg chg="add mod">
          <ac:chgData name="Axelsson Jenny" userId="35153831-a041-4e19-963c-026d50be729b" providerId="ADAL" clId="{B2E5886A-ABDB-4127-85CD-9314B6D84B8D}" dt="2020-01-20T14:27:06.760" v="442" actId="1076"/>
          <ac:picMkLst>
            <pc:docMk/>
            <pc:sldMk cId="3410182091" sldId="318"/>
            <ac:picMk id="2050" creationId="{9488EBE9-0A96-4228-AF72-FCB2F7FA46D0}"/>
          </ac:picMkLst>
        </pc:picChg>
      </pc:sldChg>
      <pc:sldChg chg="modSp add del">
        <pc:chgData name="Axelsson Jenny" userId="35153831-a041-4e19-963c-026d50be729b" providerId="ADAL" clId="{B2E5886A-ABDB-4127-85CD-9314B6D84B8D}" dt="2020-01-24T12:00:57.331" v="445" actId="2696"/>
        <pc:sldMkLst>
          <pc:docMk/>
          <pc:sldMk cId="1729643480" sldId="319"/>
        </pc:sldMkLst>
        <pc:spChg chg="mod">
          <ac:chgData name="Axelsson Jenny" userId="35153831-a041-4e19-963c-026d50be729b" providerId="ADAL" clId="{B2E5886A-ABDB-4127-85CD-9314B6D84B8D}" dt="2020-01-20T13:53:41.085" v="397" actId="20577"/>
          <ac:spMkLst>
            <pc:docMk/>
            <pc:sldMk cId="1729643480" sldId="319"/>
            <ac:spMk id="2" creationId="{28142FAB-2177-42C2-83A7-B8FCD6F5DAB5}"/>
          </ac:spMkLst>
        </pc:spChg>
      </pc:sldChg>
      <pc:sldChg chg="modSp add">
        <pc:chgData name="Axelsson Jenny" userId="35153831-a041-4e19-963c-026d50be729b" providerId="ADAL" clId="{B2E5886A-ABDB-4127-85CD-9314B6D84B8D}" dt="2020-01-20T14:27:18.849" v="443" actId="6549"/>
        <pc:sldMkLst>
          <pc:docMk/>
          <pc:sldMk cId="4158479537" sldId="320"/>
        </pc:sldMkLst>
        <pc:spChg chg="mod">
          <ac:chgData name="Axelsson Jenny" userId="35153831-a041-4e19-963c-026d50be729b" providerId="ADAL" clId="{B2E5886A-ABDB-4127-85CD-9314B6D84B8D}" dt="2020-01-20T13:54:21.347" v="414" actId="20577"/>
          <ac:spMkLst>
            <pc:docMk/>
            <pc:sldMk cId="4158479537" sldId="320"/>
            <ac:spMk id="2" creationId="{28142FAB-2177-42C2-83A7-B8FCD6F5DAB5}"/>
          </ac:spMkLst>
        </pc:spChg>
        <pc:spChg chg="mod">
          <ac:chgData name="Axelsson Jenny" userId="35153831-a041-4e19-963c-026d50be729b" providerId="ADAL" clId="{B2E5886A-ABDB-4127-85CD-9314B6D84B8D}" dt="2020-01-20T14:27:18.849" v="443" actId="6549"/>
          <ac:spMkLst>
            <pc:docMk/>
            <pc:sldMk cId="4158479537" sldId="320"/>
            <ac:spMk id="5" creationId="{E66C5368-8331-464F-8C50-5BB97655E8A7}"/>
          </ac:spMkLst>
        </pc:spChg>
      </pc:sldChg>
      <pc:sldChg chg="add">
        <pc:chgData name="Axelsson Jenny" userId="35153831-a041-4e19-963c-026d50be729b" providerId="ADAL" clId="{B2E5886A-ABDB-4127-85CD-9314B6D84B8D}" dt="2020-01-24T12:00:54.917" v="444"/>
        <pc:sldMkLst>
          <pc:docMk/>
          <pc:sldMk cId="2768632427" sldId="321"/>
        </pc:sldMkLst>
      </pc:sldChg>
      <pc:sldChg chg="add">
        <pc:chgData name="Axelsson Jenny" userId="35153831-a041-4e19-963c-026d50be729b" providerId="ADAL" clId="{B2E5886A-ABDB-4127-85CD-9314B6D84B8D}" dt="2020-01-24T12:00:54.917" v="444"/>
        <pc:sldMkLst>
          <pc:docMk/>
          <pc:sldMk cId="106689303" sldId="322"/>
        </pc:sldMkLst>
      </pc:sldChg>
    </pc:docChg>
  </pc:docChgLst>
  <pc:docChgLst>
    <pc:chgData name="Axelsson Jenny" userId="35153831-a041-4e19-963c-026d50be729b" providerId="ADAL" clId="{01AB967F-AB43-4754-88E8-9BB312CFD42C}"/>
    <pc:docChg chg="addSld delSld modSld">
      <pc:chgData name="Axelsson Jenny" userId="35153831-a041-4e19-963c-026d50be729b" providerId="ADAL" clId="{01AB967F-AB43-4754-88E8-9BB312CFD42C}" dt="2020-01-20T13:12:58.404" v="141" actId="2696"/>
      <pc:docMkLst>
        <pc:docMk/>
      </pc:docMkLst>
      <pc:sldChg chg="modSp del modNotesTx">
        <pc:chgData name="Axelsson Jenny" userId="35153831-a041-4e19-963c-026d50be729b" providerId="ADAL" clId="{01AB967F-AB43-4754-88E8-9BB312CFD42C}" dt="2020-01-20T13:12:39.252" v="139" actId="2696"/>
        <pc:sldMkLst>
          <pc:docMk/>
          <pc:sldMk cId="3651951432" sldId="268"/>
        </pc:sldMkLst>
        <pc:spChg chg="mod">
          <ac:chgData name="Axelsson Jenny" userId="35153831-a041-4e19-963c-026d50be729b" providerId="ADAL" clId="{01AB967F-AB43-4754-88E8-9BB312CFD42C}" dt="2020-01-20T13:09:38.046" v="136" actId="20577"/>
          <ac:spMkLst>
            <pc:docMk/>
            <pc:sldMk cId="3651951432" sldId="268"/>
            <ac:spMk id="6" creationId="{6586BAA2-D33F-4499-934E-80F08AEC1FB3}"/>
          </ac:spMkLst>
        </pc:spChg>
      </pc:sldChg>
      <pc:sldChg chg="add del">
        <pc:chgData name="Axelsson Jenny" userId="35153831-a041-4e19-963c-026d50be729b" providerId="ADAL" clId="{01AB967F-AB43-4754-88E8-9BB312CFD42C}" dt="2020-01-20T13:12:58.404" v="141" actId="2696"/>
        <pc:sldMkLst>
          <pc:docMk/>
          <pc:sldMk cId="2217266714" sldId="314"/>
        </pc:sldMkLst>
      </pc:sldChg>
      <pc:sldChg chg="add">
        <pc:chgData name="Axelsson Jenny" userId="35153831-a041-4e19-963c-026d50be729b" providerId="ADAL" clId="{01AB967F-AB43-4754-88E8-9BB312CFD42C}" dt="2020-01-20T13:12:55.946" v="140"/>
        <pc:sldMkLst>
          <pc:docMk/>
          <pc:sldMk cId="1683595309" sldId="315"/>
        </pc:sldMkLst>
      </pc:sldChg>
    </pc:docChg>
  </pc:docChgLst>
  <pc:docChgLst>
    <pc:chgData name="Jonsson Åsa" userId="S::asa.jonsson@inera.se::e7c157ac-c4f4-446a-aea7-2d9507f60b0e" providerId="AD" clId="Web-{C7446182-1E59-4CBC-A823-9ED5180BC26F}"/>
    <pc:docChg chg="modSld">
      <pc:chgData name="Jonsson Åsa" userId="S::asa.jonsson@inera.se::e7c157ac-c4f4-446a-aea7-2d9507f60b0e" providerId="AD" clId="Web-{C7446182-1E59-4CBC-A823-9ED5180BC26F}" dt="2020-10-23T07:35:44.642" v="20" actId="20577"/>
      <pc:docMkLst>
        <pc:docMk/>
      </pc:docMkLst>
      <pc:sldChg chg="modSp">
        <pc:chgData name="Jonsson Åsa" userId="S::asa.jonsson@inera.se::e7c157ac-c4f4-446a-aea7-2d9507f60b0e" providerId="AD" clId="Web-{C7446182-1E59-4CBC-A823-9ED5180BC26F}" dt="2020-10-23T07:35:44.642" v="20" actId="20577"/>
        <pc:sldMkLst>
          <pc:docMk/>
          <pc:sldMk cId="868890630" sldId="338"/>
        </pc:sldMkLst>
        <pc:spChg chg="mod">
          <ac:chgData name="Jonsson Åsa" userId="S::asa.jonsson@inera.se::e7c157ac-c4f4-446a-aea7-2d9507f60b0e" providerId="AD" clId="Web-{C7446182-1E59-4CBC-A823-9ED5180BC26F}" dt="2020-10-23T07:35:44.642" v="20" actId="20577"/>
          <ac:spMkLst>
            <pc:docMk/>
            <pc:sldMk cId="868890630" sldId="338"/>
            <ac:spMk id="3" creationId="{1F6A61D0-C9A9-4590-A7BC-2BC87D50447B}"/>
          </ac:spMkLst>
        </pc:spChg>
        <pc:spChg chg="mod">
          <ac:chgData name="Jonsson Åsa" userId="S::asa.jonsson@inera.se::e7c157ac-c4f4-446a-aea7-2d9507f60b0e" providerId="AD" clId="Web-{C7446182-1E59-4CBC-A823-9ED5180BC26F}" dt="2020-10-23T07:35:16.126" v="6" actId="20577"/>
          <ac:spMkLst>
            <pc:docMk/>
            <pc:sldMk cId="868890630" sldId="338"/>
            <ac:spMk id="4" creationId="{A3D50747-90DD-46B2-8D52-B5AEBF58670C}"/>
          </ac:spMkLst>
        </pc:spChg>
      </pc:sldChg>
    </pc:docChg>
  </pc:docChgLst>
  <pc:docChgLst>
    <pc:chgData name="Axelsson Jenny" userId="S::jenny.axelsson@inera.se::35153831-a041-4e19-963c-026d50be729b" providerId="AD" clId="Web-{FE78FD20-C99F-4159-9092-CBC6556193DC}"/>
    <pc:docChg chg="delSld modSld sldOrd">
      <pc:chgData name="Axelsson Jenny" userId="S::jenny.axelsson@inera.se::35153831-a041-4e19-963c-026d50be729b" providerId="AD" clId="Web-{FE78FD20-C99F-4159-9092-CBC6556193DC}" dt="2020-02-04T14:04:17.313" v="7" actId="20577"/>
      <pc:docMkLst>
        <pc:docMk/>
      </pc:docMkLst>
      <pc:sldChg chg="modSp">
        <pc:chgData name="Axelsson Jenny" userId="S::jenny.axelsson@inera.se::35153831-a041-4e19-963c-026d50be729b" providerId="AD" clId="Web-{FE78FD20-C99F-4159-9092-CBC6556193DC}" dt="2020-02-04T14:04:17.313" v="7" actId="20577"/>
        <pc:sldMkLst>
          <pc:docMk/>
          <pc:sldMk cId="1351546238" sldId="267"/>
        </pc:sldMkLst>
        <pc:spChg chg="mod">
          <ac:chgData name="Axelsson Jenny" userId="S::jenny.axelsson@inera.se::35153831-a041-4e19-963c-026d50be729b" providerId="AD" clId="Web-{FE78FD20-C99F-4159-9092-CBC6556193DC}" dt="2020-02-04T14:04:17.313" v="7" actId="20577"/>
          <ac:spMkLst>
            <pc:docMk/>
            <pc:sldMk cId="1351546238" sldId="267"/>
            <ac:spMk id="5" creationId="{E66C5368-8331-464F-8C50-5BB97655E8A7}"/>
          </ac:spMkLst>
        </pc:spChg>
      </pc:sldChg>
      <pc:sldChg chg="del ord">
        <pc:chgData name="Axelsson Jenny" userId="S::jenny.axelsson@inera.se::35153831-a041-4e19-963c-026d50be729b" providerId="AD" clId="Web-{FE78FD20-C99F-4159-9092-CBC6556193DC}" dt="2020-02-04T14:04:08.173" v="6"/>
        <pc:sldMkLst>
          <pc:docMk/>
          <pc:sldMk cId="1683595309" sldId="315"/>
        </pc:sldMkLst>
      </pc:sldChg>
      <pc:sldChg chg="del">
        <pc:chgData name="Axelsson Jenny" userId="S::jenny.axelsson@inera.se::35153831-a041-4e19-963c-026d50be729b" providerId="AD" clId="Web-{FE78FD20-C99F-4159-9092-CBC6556193DC}" dt="2020-02-04T14:03:55.735" v="3"/>
        <pc:sldMkLst>
          <pc:docMk/>
          <pc:sldMk cId="2668455938" sldId="316"/>
        </pc:sldMkLst>
      </pc:sldChg>
      <pc:sldChg chg="del">
        <pc:chgData name="Axelsson Jenny" userId="S::jenny.axelsson@inera.se::35153831-a041-4e19-963c-026d50be729b" providerId="AD" clId="Web-{FE78FD20-C99F-4159-9092-CBC6556193DC}" dt="2020-02-04T14:03:51.704" v="0"/>
        <pc:sldMkLst>
          <pc:docMk/>
          <pc:sldMk cId="1087366172" sldId="317"/>
        </pc:sldMkLst>
      </pc:sldChg>
      <pc:sldChg chg="del">
        <pc:chgData name="Axelsson Jenny" userId="S::jenny.axelsson@inera.se::35153831-a041-4e19-963c-026d50be729b" providerId="AD" clId="Web-{FE78FD20-C99F-4159-9092-CBC6556193DC}" dt="2020-02-04T14:03:52.672" v="1"/>
        <pc:sldMkLst>
          <pc:docMk/>
          <pc:sldMk cId="3410182091" sldId="318"/>
        </pc:sldMkLst>
      </pc:sldChg>
      <pc:sldChg chg="del">
        <pc:chgData name="Axelsson Jenny" userId="S::jenny.axelsson@inera.se::35153831-a041-4e19-963c-026d50be729b" providerId="AD" clId="Web-{FE78FD20-C99F-4159-9092-CBC6556193DC}" dt="2020-02-04T14:03:55.547" v="2"/>
        <pc:sldMkLst>
          <pc:docMk/>
          <pc:sldMk cId="2768632427" sldId="321"/>
        </pc:sldMkLst>
      </pc:sldChg>
      <pc:sldChg chg="del">
        <pc:chgData name="Axelsson Jenny" userId="S::jenny.axelsson@inera.se::35153831-a041-4e19-963c-026d50be729b" providerId="AD" clId="Web-{FE78FD20-C99F-4159-9092-CBC6556193DC}" dt="2020-02-04T14:03:55.766" v="4"/>
        <pc:sldMkLst>
          <pc:docMk/>
          <pc:sldMk cId="106689303" sldId="322"/>
        </pc:sldMkLst>
      </pc:sldChg>
    </pc:docChg>
  </pc:docChgLst>
  <pc:docChgLst>
    <pc:chgData name="Axelsson Jenny" userId="S::jenny.axelsson@inera.se::35153831-a041-4e19-963c-026d50be729b" providerId="AD" clId="Web-{7C4AB73F-534B-43F6-8592-8D34282E1C46}"/>
    <pc:docChg chg="modSld">
      <pc:chgData name="Axelsson Jenny" userId="S::jenny.axelsson@inera.se::35153831-a041-4e19-963c-026d50be729b" providerId="AD" clId="Web-{7C4AB73F-534B-43F6-8592-8D34282E1C46}" dt="2020-10-23T10:43:48.236" v="38" actId="20577"/>
      <pc:docMkLst>
        <pc:docMk/>
      </pc:docMkLst>
      <pc:sldChg chg="modSp">
        <pc:chgData name="Axelsson Jenny" userId="S::jenny.axelsson@inera.se::35153831-a041-4e19-963c-026d50be729b" providerId="AD" clId="Web-{7C4AB73F-534B-43F6-8592-8D34282E1C46}" dt="2020-10-23T10:31:03.064" v="1" actId="20577"/>
        <pc:sldMkLst>
          <pc:docMk/>
          <pc:sldMk cId="1351546238" sldId="267"/>
        </pc:sldMkLst>
        <pc:spChg chg="mod">
          <ac:chgData name="Axelsson Jenny" userId="S::jenny.axelsson@inera.se::35153831-a041-4e19-963c-026d50be729b" providerId="AD" clId="Web-{7C4AB73F-534B-43F6-8592-8D34282E1C46}" dt="2020-10-23T10:31:03.064" v="1" actId="20577"/>
          <ac:spMkLst>
            <pc:docMk/>
            <pc:sldMk cId="1351546238" sldId="267"/>
            <ac:spMk id="5" creationId="{E66C5368-8331-464F-8C50-5BB97655E8A7}"/>
          </ac:spMkLst>
        </pc:spChg>
      </pc:sldChg>
      <pc:sldChg chg="modSp">
        <pc:chgData name="Axelsson Jenny" userId="S::jenny.axelsson@inera.se::35153831-a041-4e19-963c-026d50be729b" providerId="AD" clId="Web-{7C4AB73F-534B-43F6-8592-8D34282E1C46}" dt="2020-10-23T10:33:50.146" v="24" actId="1076"/>
        <pc:sldMkLst>
          <pc:docMk/>
          <pc:sldMk cId="3621122691" sldId="330"/>
        </pc:sldMkLst>
        <pc:spChg chg="mod">
          <ac:chgData name="Axelsson Jenny" userId="S::jenny.axelsson@inera.se::35153831-a041-4e19-963c-026d50be729b" providerId="AD" clId="Web-{7C4AB73F-534B-43F6-8592-8D34282E1C46}" dt="2020-10-23T10:33:42.458" v="23" actId="1076"/>
          <ac:spMkLst>
            <pc:docMk/>
            <pc:sldMk cId="3621122691" sldId="330"/>
            <ac:spMk id="4" creationId="{A3D50747-90DD-46B2-8D52-B5AEBF58670C}"/>
          </ac:spMkLst>
        </pc:spChg>
        <pc:spChg chg="mod">
          <ac:chgData name="Axelsson Jenny" userId="S::jenny.axelsson@inera.se::35153831-a041-4e19-963c-026d50be729b" providerId="AD" clId="Web-{7C4AB73F-534B-43F6-8592-8D34282E1C46}" dt="2020-10-23T10:33:50.146" v="24" actId="1076"/>
          <ac:spMkLst>
            <pc:docMk/>
            <pc:sldMk cId="3621122691" sldId="330"/>
            <ac:spMk id="7" creationId="{8713E689-BD7A-4C25-B53E-EE9441DA6417}"/>
          </ac:spMkLst>
        </pc:spChg>
      </pc:sldChg>
      <pc:sldChg chg="modSp">
        <pc:chgData name="Axelsson Jenny" userId="S::jenny.axelsson@inera.se::35153831-a041-4e19-963c-026d50be729b" providerId="AD" clId="Web-{7C4AB73F-534B-43F6-8592-8D34282E1C46}" dt="2020-10-23T10:40:10.247" v="30" actId="20577"/>
        <pc:sldMkLst>
          <pc:docMk/>
          <pc:sldMk cId="2323421040" sldId="331"/>
        </pc:sldMkLst>
        <pc:spChg chg="mod">
          <ac:chgData name="Axelsson Jenny" userId="S::jenny.axelsson@inera.se::35153831-a041-4e19-963c-026d50be729b" providerId="AD" clId="Web-{7C4AB73F-534B-43F6-8592-8D34282E1C46}" dt="2020-10-23T10:40:10.247" v="30" actId="20577"/>
          <ac:spMkLst>
            <pc:docMk/>
            <pc:sldMk cId="2323421040" sldId="331"/>
            <ac:spMk id="3" creationId="{DD9924C0-F0EC-45BF-8C30-3AA8ED38146D}"/>
          </ac:spMkLst>
        </pc:spChg>
      </pc:sldChg>
      <pc:sldChg chg="modSp">
        <pc:chgData name="Axelsson Jenny" userId="S::jenny.axelsson@inera.se::35153831-a041-4e19-963c-026d50be729b" providerId="AD" clId="Web-{7C4AB73F-534B-43F6-8592-8D34282E1C46}" dt="2020-10-23T10:43:48.236" v="38" actId="20577"/>
        <pc:sldMkLst>
          <pc:docMk/>
          <pc:sldMk cId="1127002852" sldId="333"/>
        </pc:sldMkLst>
        <pc:spChg chg="mod">
          <ac:chgData name="Axelsson Jenny" userId="S::jenny.axelsson@inera.se::35153831-a041-4e19-963c-026d50be729b" providerId="AD" clId="Web-{7C4AB73F-534B-43F6-8592-8D34282E1C46}" dt="2020-10-23T10:43:48.236" v="38" actId="20577"/>
          <ac:spMkLst>
            <pc:docMk/>
            <pc:sldMk cId="1127002852" sldId="333"/>
            <ac:spMk id="3" creationId="{DD9924C0-F0EC-45BF-8C30-3AA8ED38146D}"/>
          </ac:spMkLst>
        </pc:spChg>
      </pc:sldChg>
    </pc:docChg>
  </pc:docChgLst>
  <pc:docChgLst>
    <pc:chgData name="Jonsson Åsa" userId="S::asa.jonsson@inera.se::e7c157ac-c4f4-446a-aea7-2d9507f60b0e" providerId="AD" clId="Web-{317B08B8-218A-409E-8549-43F9BD255EDF}"/>
    <pc:docChg chg="addSld delSld modSld">
      <pc:chgData name="Jonsson Åsa" userId="S::asa.jonsson@inera.se::e7c157ac-c4f4-446a-aea7-2d9507f60b0e" providerId="AD" clId="Web-{317B08B8-218A-409E-8549-43F9BD255EDF}" dt="2020-10-23T06:40:22.256" v="40"/>
      <pc:docMkLst>
        <pc:docMk/>
      </pc:docMkLst>
      <pc:sldChg chg="modSp add del replId">
        <pc:chgData name="Jonsson Åsa" userId="S::asa.jonsson@inera.se::e7c157ac-c4f4-446a-aea7-2d9507f60b0e" providerId="AD" clId="Web-{317B08B8-218A-409E-8549-43F9BD255EDF}" dt="2020-10-23T06:40:22.256" v="40"/>
        <pc:sldMkLst>
          <pc:docMk/>
          <pc:sldMk cId="1054135638" sldId="335"/>
        </pc:sldMkLst>
        <pc:spChg chg="mod">
          <ac:chgData name="Jonsson Åsa" userId="S::asa.jonsson@inera.se::e7c157ac-c4f4-446a-aea7-2d9507f60b0e" providerId="AD" clId="Web-{317B08B8-218A-409E-8549-43F9BD255EDF}" dt="2020-10-23T06:38:05.145" v="36" actId="20577"/>
          <ac:spMkLst>
            <pc:docMk/>
            <pc:sldMk cId="1054135638" sldId="335"/>
            <ac:spMk id="2" creationId="{28142FAB-2177-42C2-83A7-B8FCD6F5DAB5}"/>
          </ac:spMkLst>
        </pc:spChg>
        <pc:spChg chg="mod">
          <ac:chgData name="Jonsson Åsa" userId="S::asa.jonsson@inera.se::e7c157ac-c4f4-446a-aea7-2d9507f60b0e" providerId="AD" clId="Web-{317B08B8-218A-409E-8549-43F9BD255EDF}" dt="2020-10-23T06:40:17.131" v="39" actId="20577"/>
          <ac:spMkLst>
            <pc:docMk/>
            <pc:sldMk cId="1054135638" sldId="335"/>
            <ac:spMk id="3" creationId="{28E8375E-288E-4539-ABE4-FC3D347AF916}"/>
          </ac:spMkLst>
        </pc:spChg>
      </pc:sldChg>
      <pc:sldChg chg="addSp delSp modSp new del">
        <pc:chgData name="Jonsson Åsa" userId="S::asa.jonsson@inera.se::e7c157ac-c4f4-446a-aea7-2d9507f60b0e" providerId="AD" clId="Web-{317B08B8-218A-409E-8549-43F9BD255EDF}" dt="2020-10-23T06:37:24.520" v="32"/>
        <pc:sldMkLst>
          <pc:docMk/>
          <pc:sldMk cId="3979900248" sldId="335"/>
        </pc:sldMkLst>
        <pc:spChg chg="add del mod">
          <ac:chgData name="Jonsson Åsa" userId="S::asa.jonsson@inera.se::e7c157ac-c4f4-446a-aea7-2d9507f60b0e" providerId="AD" clId="Web-{317B08B8-218A-409E-8549-43F9BD255EDF}" dt="2020-10-23T06:36:55.285" v="15"/>
          <ac:spMkLst>
            <pc:docMk/>
            <pc:sldMk cId="3979900248" sldId="335"/>
            <ac:spMk id="2" creationId="{0498D1F9-B556-4B2A-8562-AFB388B781EC}"/>
          </ac:spMkLst>
        </pc:spChg>
        <pc:spChg chg="add del mod">
          <ac:chgData name="Jonsson Åsa" userId="S::asa.jonsson@inera.se::e7c157ac-c4f4-446a-aea7-2d9507f60b0e" providerId="AD" clId="Web-{317B08B8-218A-409E-8549-43F9BD255EDF}" dt="2020-10-23T06:36:55.285" v="15"/>
          <ac:spMkLst>
            <pc:docMk/>
            <pc:sldMk cId="3979900248" sldId="335"/>
            <ac:spMk id="6" creationId="{D7EDFA77-2026-4ED4-9B2C-039D2F3CBF2F}"/>
          </ac:spMkLst>
        </pc:spChg>
        <pc:spChg chg="add mod">
          <ac:chgData name="Jonsson Åsa" userId="S::asa.jonsson@inera.se::e7c157ac-c4f4-446a-aea7-2d9507f60b0e" providerId="AD" clId="Web-{317B08B8-218A-409E-8549-43F9BD255EDF}" dt="2020-10-23T06:37:21.285" v="29" actId="20577"/>
          <ac:spMkLst>
            <pc:docMk/>
            <pc:sldMk cId="3979900248" sldId="335"/>
            <ac:spMk id="7" creationId="{8D45F588-5E04-42A2-99A0-29E73535BDA7}"/>
          </ac:spMkLst>
        </pc:spChg>
      </pc:sldChg>
    </pc:docChg>
  </pc:docChgLst>
  <pc:docChgLst>
    <pc:chgData name="Axelsson Jenny" userId="S::jenny.axelsson@inera.se::35153831-a041-4e19-963c-026d50be729b" providerId="AD" clId="Web-{443428BE-F189-45B6-B22E-238CEF53F1D9}"/>
    <pc:docChg chg="addSld delSld">
      <pc:chgData name="Axelsson Jenny" userId="S::jenny.axelsson@inera.se::35153831-a041-4e19-963c-026d50be729b" providerId="AD" clId="Web-{443428BE-F189-45B6-B22E-238CEF53F1D9}" dt="2020-09-22T06:51:07.185" v="2"/>
      <pc:docMkLst>
        <pc:docMk/>
      </pc:docMkLst>
      <pc:sldChg chg="new del">
        <pc:chgData name="Axelsson Jenny" userId="S::jenny.axelsson@inera.se::35153831-a041-4e19-963c-026d50be729b" providerId="AD" clId="Web-{443428BE-F189-45B6-B22E-238CEF53F1D9}" dt="2020-09-22T06:50:59.232" v="1"/>
        <pc:sldMkLst>
          <pc:docMk/>
          <pc:sldMk cId="2316355627" sldId="321"/>
        </pc:sldMkLst>
      </pc:sldChg>
      <pc:sldChg chg="new">
        <pc:chgData name="Axelsson Jenny" userId="S::jenny.axelsson@inera.se::35153831-a041-4e19-963c-026d50be729b" providerId="AD" clId="Web-{443428BE-F189-45B6-B22E-238CEF53F1D9}" dt="2020-09-22T06:51:07.185" v="2"/>
        <pc:sldMkLst>
          <pc:docMk/>
          <pc:sldMk cId="3905592595" sldId="321"/>
        </pc:sldMkLst>
      </pc:sldChg>
    </pc:docChg>
  </pc:docChgLst>
  <pc:docChgLst>
    <pc:chgData name="Axelsson Jenny" userId="S::jenny.axelsson@inera.se::35153831-a041-4e19-963c-026d50be729b" providerId="AD" clId="Web-{7B78FA95-73E6-40FE-8356-0BE3FA3F298C}"/>
    <pc:docChg chg="addSld delSld modSld">
      <pc:chgData name="Axelsson Jenny" userId="S::jenny.axelsson@inera.se::35153831-a041-4e19-963c-026d50be729b" providerId="AD" clId="Web-{7B78FA95-73E6-40FE-8356-0BE3FA3F298C}" dt="2020-10-21T13:40:07.130" v="141" actId="14100"/>
      <pc:docMkLst>
        <pc:docMk/>
      </pc:docMkLst>
      <pc:sldChg chg="addSp delSp modSp new mod modClrScheme chgLayout">
        <pc:chgData name="Axelsson Jenny" userId="S::jenny.axelsson@inera.se::35153831-a041-4e19-963c-026d50be729b" providerId="AD" clId="Web-{7B78FA95-73E6-40FE-8356-0BE3FA3F298C}" dt="2020-10-21T13:40:07.130" v="141" actId="14100"/>
        <pc:sldMkLst>
          <pc:docMk/>
          <pc:sldMk cId="931554753" sldId="328"/>
        </pc:sldMkLst>
        <pc:spChg chg="del mod ord">
          <ac:chgData name="Axelsson Jenny" userId="S::jenny.axelsson@inera.se::35153831-a041-4e19-963c-026d50be729b" providerId="AD" clId="Web-{7B78FA95-73E6-40FE-8356-0BE3FA3F298C}" dt="2020-10-21T13:36:06.702" v="133"/>
          <ac:spMkLst>
            <pc:docMk/>
            <pc:sldMk cId="931554753" sldId="328"/>
            <ac:spMk id="2" creationId="{D35E36B6-7505-434B-962D-AA40DF7C1E63}"/>
          </ac:spMkLst>
        </pc:spChg>
        <pc:spChg chg="del mod ord">
          <ac:chgData name="Axelsson Jenny" userId="S::jenny.axelsson@inera.se::35153831-a041-4e19-963c-026d50be729b" providerId="AD" clId="Web-{7B78FA95-73E6-40FE-8356-0BE3FA3F298C}" dt="2020-10-21T13:35:07.763" v="123"/>
          <ac:spMkLst>
            <pc:docMk/>
            <pc:sldMk cId="931554753" sldId="328"/>
            <ac:spMk id="3" creationId="{3D8DCEB1-C347-432F-BB79-9F1E8CCDD7DF}"/>
          </ac:spMkLst>
        </pc:spChg>
        <pc:spChg chg="mod ord modVis">
          <ac:chgData name="Axelsson Jenny" userId="S::jenny.axelsson@inera.se::35153831-a041-4e19-963c-026d50be729b" providerId="AD" clId="Web-{7B78FA95-73E6-40FE-8356-0BE3FA3F298C}" dt="2020-10-21T13:36:06.702" v="133"/>
          <ac:spMkLst>
            <pc:docMk/>
            <pc:sldMk cId="931554753" sldId="328"/>
            <ac:spMk id="4" creationId="{416E520F-7783-4CB5-8A5C-B9876DF54106}"/>
          </ac:spMkLst>
        </pc:spChg>
        <pc:spChg chg="add del mod ord">
          <ac:chgData name="Axelsson Jenny" userId="S::jenny.axelsson@inera.se::35153831-a041-4e19-963c-026d50be729b" providerId="AD" clId="Web-{7B78FA95-73E6-40FE-8356-0BE3FA3F298C}" dt="2020-10-21T13:36:06.702" v="133"/>
          <ac:spMkLst>
            <pc:docMk/>
            <pc:sldMk cId="931554753" sldId="328"/>
            <ac:spMk id="5" creationId="{46667A6D-150E-4F85-AEB4-C04ADFECABE2}"/>
          </ac:spMkLst>
        </pc:spChg>
        <pc:spChg chg="add del mod ord">
          <ac:chgData name="Axelsson Jenny" userId="S::jenny.axelsson@inera.se::35153831-a041-4e19-963c-026d50be729b" providerId="AD" clId="Web-{7B78FA95-73E6-40FE-8356-0BE3FA3F298C}" dt="2020-10-21T13:35:10.200" v="124"/>
          <ac:spMkLst>
            <pc:docMk/>
            <pc:sldMk cId="931554753" sldId="328"/>
            <ac:spMk id="6" creationId="{D12B57A0-A707-487C-BFEE-120B1D9F17D5}"/>
          </ac:spMkLst>
        </pc:spChg>
        <pc:spChg chg="add del mod">
          <ac:chgData name="Axelsson Jenny" userId="S::jenny.axelsson@inera.se::35153831-a041-4e19-963c-026d50be729b" providerId="AD" clId="Web-{7B78FA95-73E6-40FE-8356-0BE3FA3F298C}" dt="2020-10-21T13:38:51.284" v="135"/>
          <ac:spMkLst>
            <pc:docMk/>
            <pc:sldMk cId="931554753" sldId="328"/>
            <ac:spMk id="9" creationId="{99AF9C79-798A-4D7D-AE97-1C5AABDDB961}"/>
          </ac:spMkLst>
        </pc:spChg>
        <pc:spChg chg="add mod">
          <ac:chgData name="Axelsson Jenny" userId="S::jenny.axelsson@inera.se::35153831-a041-4e19-963c-026d50be729b" providerId="AD" clId="Web-{7B78FA95-73E6-40FE-8356-0BE3FA3F298C}" dt="2020-10-21T13:40:07.130" v="141" actId="14100"/>
          <ac:spMkLst>
            <pc:docMk/>
            <pc:sldMk cId="931554753" sldId="328"/>
            <ac:spMk id="12" creationId="{9F8438D7-6300-48B7-8698-FFDE843AEB4E}"/>
          </ac:spMkLst>
        </pc:spChg>
        <pc:spChg chg="add mod">
          <ac:chgData name="Axelsson Jenny" userId="S::jenny.axelsson@inera.se::35153831-a041-4e19-963c-026d50be729b" providerId="AD" clId="Web-{7B78FA95-73E6-40FE-8356-0BE3FA3F298C}" dt="2020-10-21T13:36:06.702" v="133"/>
          <ac:spMkLst>
            <pc:docMk/>
            <pc:sldMk cId="931554753" sldId="328"/>
            <ac:spMk id="14" creationId="{9C27F76D-417D-4C07-B17A-8F3DBB1FE380}"/>
          </ac:spMkLst>
        </pc:spChg>
        <pc:picChg chg="add del mod ord modCrop">
          <ac:chgData name="Axelsson Jenny" userId="S::jenny.axelsson@inera.se::35153831-a041-4e19-963c-026d50be729b" providerId="AD" clId="Web-{7B78FA95-73E6-40FE-8356-0BE3FA3F298C}" dt="2020-10-21T13:36:15.171" v="134"/>
          <ac:picMkLst>
            <pc:docMk/>
            <pc:sldMk cId="931554753" sldId="328"/>
            <ac:picMk id="7" creationId="{C7C617E6-CD92-4AD0-9631-C04D81FB9AFC}"/>
          </ac:picMkLst>
        </pc:picChg>
        <pc:picChg chg="add mod ord modCrop">
          <ac:chgData name="Axelsson Jenny" userId="S::jenny.axelsson@inera.se::35153831-a041-4e19-963c-026d50be729b" providerId="AD" clId="Web-{7B78FA95-73E6-40FE-8356-0BE3FA3F298C}" dt="2020-10-21T13:38:51.284" v="135"/>
          <ac:picMkLst>
            <pc:docMk/>
            <pc:sldMk cId="931554753" sldId="328"/>
            <ac:picMk id="10" creationId="{5B15EAC5-A7DC-4CF5-831D-87D4AF06898F}"/>
          </ac:picMkLst>
        </pc:picChg>
      </pc:sldChg>
      <pc:sldChg chg="addSp delSp modSp new mod modClrScheme chgLayout">
        <pc:chgData name="Axelsson Jenny" userId="S::jenny.axelsson@inera.se::35153831-a041-4e19-963c-026d50be729b" providerId="AD" clId="Web-{7B78FA95-73E6-40FE-8356-0BE3FA3F298C}" dt="2020-10-21T13:32:58.447" v="121" actId="20577"/>
        <pc:sldMkLst>
          <pc:docMk/>
          <pc:sldMk cId="4194386535" sldId="329"/>
        </pc:sldMkLst>
        <pc:spChg chg="mod ord">
          <ac:chgData name="Axelsson Jenny" userId="S::jenny.axelsson@inera.se::35153831-a041-4e19-963c-026d50be729b" providerId="AD" clId="Web-{7B78FA95-73E6-40FE-8356-0BE3FA3F298C}" dt="2020-10-21T13:23:43.824" v="22" actId="20577"/>
          <ac:spMkLst>
            <pc:docMk/>
            <pc:sldMk cId="4194386535" sldId="329"/>
            <ac:spMk id="2" creationId="{CB294072-904F-4303-BD50-6B01BC3B5CCF}"/>
          </ac:spMkLst>
        </pc:spChg>
        <pc:spChg chg="mod ord">
          <ac:chgData name="Axelsson Jenny" userId="S::jenny.axelsson@inera.se::35153831-a041-4e19-963c-026d50be729b" providerId="AD" clId="Web-{7B78FA95-73E6-40FE-8356-0BE3FA3F298C}" dt="2020-10-21T13:23:17.573" v="2"/>
          <ac:spMkLst>
            <pc:docMk/>
            <pc:sldMk cId="4194386535" sldId="329"/>
            <ac:spMk id="3" creationId="{BA7A280E-9B42-40BA-9D81-6EDF7474A971}"/>
          </ac:spMkLst>
        </pc:spChg>
        <pc:spChg chg="mod ord">
          <ac:chgData name="Axelsson Jenny" userId="S::jenny.axelsson@inera.se::35153831-a041-4e19-963c-026d50be729b" providerId="AD" clId="Web-{7B78FA95-73E6-40FE-8356-0BE3FA3F298C}" dt="2020-10-21T13:23:17.573" v="2"/>
          <ac:spMkLst>
            <pc:docMk/>
            <pc:sldMk cId="4194386535" sldId="329"/>
            <ac:spMk id="4" creationId="{63FF369A-532D-4E8B-BEE3-EC973D227508}"/>
          </ac:spMkLst>
        </pc:spChg>
        <pc:spChg chg="add mod ord">
          <ac:chgData name="Axelsson Jenny" userId="S::jenny.axelsson@inera.se::35153831-a041-4e19-963c-026d50be729b" providerId="AD" clId="Web-{7B78FA95-73E6-40FE-8356-0BE3FA3F298C}" dt="2020-10-21T13:32:58.447" v="121" actId="20577"/>
          <ac:spMkLst>
            <pc:docMk/>
            <pc:sldMk cId="4194386535" sldId="329"/>
            <ac:spMk id="5" creationId="{60CADD54-02DE-4D5A-99FD-630D60F1D9AC}"/>
          </ac:spMkLst>
        </pc:spChg>
        <pc:spChg chg="add del mod ord">
          <ac:chgData name="Axelsson Jenny" userId="S::jenny.axelsson@inera.se::35153831-a041-4e19-963c-026d50be729b" providerId="AD" clId="Web-{7B78FA95-73E6-40FE-8356-0BE3FA3F298C}" dt="2020-10-21T13:25:42.030" v="37"/>
          <ac:spMkLst>
            <pc:docMk/>
            <pc:sldMk cId="4194386535" sldId="329"/>
            <ac:spMk id="6" creationId="{18174F41-A92D-4DBB-8842-D0BB4E920B1D}"/>
          </ac:spMkLst>
        </pc:spChg>
        <pc:spChg chg="add del mod">
          <ac:chgData name="Axelsson Jenny" userId="S::jenny.axelsson@inera.se::35153831-a041-4e19-963c-026d50be729b" providerId="AD" clId="Web-{7B78FA95-73E6-40FE-8356-0BE3FA3F298C}" dt="2020-10-21T13:28:59.254" v="41"/>
          <ac:spMkLst>
            <pc:docMk/>
            <pc:sldMk cId="4194386535" sldId="329"/>
            <ac:spMk id="9" creationId="{4A65E20B-E472-46DE-9600-4C56A8212197}"/>
          </ac:spMkLst>
        </pc:spChg>
        <pc:spChg chg="add del mod">
          <ac:chgData name="Axelsson Jenny" userId="S::jenny.axelsson@inera.se::35153831-a041-4e19-963c-026d50be729b" providerId="AD" clId="Web-{7B78FA95-73E6-40FE-8356-0BE3FA3F298C}" dt="2020-10-21T13:29:11.785" v="45"/>
          <ac:spMkLst>
            <pc:docMk/>
            <pc:sldMk cId="4194386535" sldId="329"/>
            <ac:spMk id="12" creationId="{A44A3C44-2989-4983-9CDE-3DA532A85CB7}"/>
          </ac:spMkLst>
        </pc:spChg>
        <pc:spChg chg="add del mod">
          <ac:chgData name="Axelsson Jenny" userId="S::jenny.axelsson@inera.se::35153831-a041-4e19-963c-026d50be729b" providerId="AD" clId="Web-{7B78FA95-73E6-40FE-8356-0BE3FA3F298C}" dt="2020-10-21T13:30:11.287" v="48"/>
          <ac:spMkLst>
            <pc:docMk/>
            <pc:sldMk cId="4194386535" sldId="329"/>
            <ac:spMk id="15" creationId="{E781DC26-6069-4462-812C-0EEB8660A702}"/>
          </ac:spMkLst>
        </pc:spChg>
        <pc:spChg chg="add del mod">
          <ac:chgData name="Axelsson Jenny" userId="S::jenny.axelsson@inera.se::35153831-a041-4e19-963c-026d50be729b" providerId="AD" clId="Web-{7B78FA95-73E6-40FE-8356-0BE3FA3F298C}" dt="2020-10-21T13:30:30.912" v="55"/>
          <ac:spMkLst>
            <pc:docMk/>
            <pc:sldMk cId="4194386535" sldId="329"/>
            <ac:spMk id="18" creationId="{3CF76209-7309-423E-A410-6554BFFAD150}"/>
          </ac:spMkLst>
        </pc:spChg>
        <pc:spChg chg="add mod">
          <ac:chgData name="Axelsson Jenny" userId="S::jenny.axelsson@inera.se::35153831-a041-4e19-963c-026d50be729b" providerId="AD" clId="Web-{7B78FA95-73E6-40FE-8356-0BE3FA3F298C}" dt="2020-10-21T13:31:58.836" v="101" actId="14100"/>
          <ac:spMkLst>
            <pc:docMk/>
            <pc:sldMk cId="4194386535" sldId="329"/>
            <ac:spMk id="20" creationId="{68875D57-91FC-4FD3-B862-EF4DEE85558D}"/>
          </ac:spMkLst>
        </pc:spChg>
        <pc:picChg chg="add del mod ord modCrop">
          <ac:chgData name="Axelsson Jenny" userId="S::jenny.axelsson@inera.se::35153831-a041-4e19-963c-026d50be729b" providerId="AD" clId="Web-{7B78FA95-73E6-40FE-8356-0BE3FA3F298C}" dt="2020-10-21T13:27:11.813" v="40"/>
          <ac:picMkLst>
            <pc:docMk/>
            <pc:sldMk cId="4194386535" sldId="329"/>
            <ac:picMk id="7" creationId="{50AFFDD8-5483-47E6-AC69-BE3DBAABD57A}"/>
          </ac:picMkLst>
        </pc:picChg>
        <pc:picChg chg="add del mod ord modCrop">
          <ac:chgData name="Axelsson Jenny" userId="S::jenny.axelsson@inera.se::35153831-a041-4e19-963c-026d50be729b" providerId="AD" clId="Web-{7B78FA95-73E6-40FE-8356-0BE3FA3F298C}" dt="2020-10-21T13:29:03.160" v="44"/>
          <ac:picMkLst>
            <pc:docMk/>
            <pc:sldMk cId="4194386535" sldId="329"/>
            <ac:picMk id="10" creationId="{470118FE-C242-4EA3-A304-EE2DE868D48F}"/>
          </ac:picMkLst>
        </pc:picChg>
        <pc:picChg chg="add del mod ord modCrop">
          <ac:chgData name="Axelsson Jenny" userId="S::jenny.axelsson@inera.se::35153831-a041-4e19-963c-026d50be729b" providerId="AD" clId="Web-{7B78FA95-73E6-40FE-8356-0BE3FA3F298C}" dt="2020-10-21T13:29:25.832" v="47"/>
          <ac:picMkLst>
            <pc:docMk/>
            <pc:sldMk cId="4194386535" sldId="329"/>
            <ac:picMk id="13" creationId="{09A17A4C-99E2-4C9F-8D23-E444023C92E1}"/>
          </ac:picMkLst>
        </pc:picChg>
        <pc:picChg chg="add del mod ord modCrop">
          <ac:chgData name="Axelsson Jenny" userId="S::jenny.axelsson@inera.se::35153831-a041-4e19-963c-026d50be729b" providerId="AD" clId="Web-{7B78FA95-73E6-40FE-8356-0BE3FA3F298C}" dt="2020-10-21T13:30:25.178" v="53"/>
          <ac:picMkLst>
            <pc:docMk/>
            <pc:sldMk cId="4194386535" sldId="329"/>
            <ac:picMk id="16" creationId="{06E77430-9DF9-424A-80BE-FC4FFFBEA866}"/>
          </ac:picMkLst>
        </pc:picChg>
      </pc:sldChg>
      <pc:sldChg chg="addSp delSp modSp new del">
        <pc:chgData name="Axelsson Jenny" userId="S::jenny.axelsson@inera.se::35153831-a041-4e19-963c-026d50be729b" providerId="AD" clId="Web-{7B78FA95-73E6-40FE-8356-0BE3FA3F298C}" dt="2020-10-21T13:36:00.389" v="132"/>
        <pc:sldMkLst>
          <pc:docMk/>
          <pc:sldMk cId="491710020" sldId="330"/>
        </pc:sldMkLst>
        <pc:picChg chg="add del mod">
          <ac:chgData name="Axelsson Jenny" userId="S::jenny.axelsson@inera.se::35153831-a041-4e19-963c-026d50be729b" providerId="AD" clId="Web-{7B78FA95-73E6-40FE-8356-0BE3FA3F298C}" dt="2020-10-21T13:35:56.420" v="131"/>
          <ac:picMkLst>
            <pc:docMk/>
            <pc:sldMk cId="491710020" sldId="330"/>
            <ac:picMk id="5" creationId="{33CEE098-D7BE-4028-8548-C540C2A80CD8}"/>
          </ac:picMkLst>
        </pc:picChg>
      </pc:sldChg>
      <pc:sldChg chg="addSp delSp modSp new del">
        <pc:chgData name="Axelsson Jenny" userId="S::jenny.axelsson@inera.se::35153831-a041-4e19-963c-026d50be729b" providerId="AD" clId="Web-{7B78FA95-73E6-40FE-8356-0BE3FA3F298C}" dt="2020-10-21T13:35:31.717" v="128"/>
        <pc:sldMkLst>
          <pc:docMk/>
          <pc:sldMk cId="1501479105" sldId="330"/>
        </pc:sldMkLst>
        <pc:spChg chg="del">
          <ac:chgData name="Axelsson Jenny" userId="S::jenny.axelsson@inera.se::35153831-a041-4e19-963c-026d50be729b" providerId="AD" clId="Web-{7B78FA95-73E6-40FE-8356-0BE3FA3F298C}" dt="2020-10-21T13:35:27.013" v="126"/>
          <ac:spMkLst>
            <pc:docMk/>
            <pc:sldMk cId="1501479105" sldId="330"/>
            <ac:spMk id="2" creationId="{7638C9DB-19D4-4817-B45E-E9C1ED8D6DEA}"/>
          </ac:spMkLst>
        </pc:spChg>
        <pc:spChg chg="add mod">
          <ac:chgData name="Axelsson Jenny" userId="S::jenny.axelsson@inera.se::35153831-a041-4e19-963c-026d50be729b" providerId="AD" clId="Web-{7B78FA95-73E6-40FE-8356-0BE3FA3F298C}" dt="2020-10-21T13:35:29.138" v="127"/>
          <ac:spMkLst>
            <pc:docMk/>
            <pc:sldMk cId="1501479105" sldId="330"/>
            <ac:spMk id="7" creationId="{72B25A78-3059-4A0B-80D5-D65541823BB5}"/>
          </ac:spMkLst>
        </pc:spChg>
        <pc:picChg chg="add del mod ord modCrop">
          <ac:chgData name="Axelsson Jenny" userId="S::jenny.axelsson@inera.se::35153831-a041-4e19-963c-026d50be729b" providerId="AD" clId="Web-{7B78FA95-73E6-40FE-8356-0BE3FA3F298C}" dt="2020-10-21T13:35:29.138" v="127"/>
          <ac:picMkLst>
            <pc:docMk/>
            <pc:sldMk cId="1501479105" sldId="330"/>
            <ac:picMk id="5" creationId="{93D51C50-576D-4CC2-B8F2-DA01BFD8FD64}"/>
          </ac:picMkLst>
        </pc:picChg>
      </pc:sldChg>
    </pc:docChg>
  </pc:docChgLst>
  <pc:docChgLst>
    <pc:chgData name="Jonsson Åsa" userId="S::asa.jonsson@inera.se::e7c157ac-c4f4-446a-aea7-2d9507f60b0e" providerId="AD" clId="Web-{01442759-0A10-439A-B23B-C39A4D3105B9}"/>
    <pc:docChg chg="addSld modSld">
      <pc:chgData name="Jonsson Åsa" userId="S::asa.jonsson@inera.se::e7c157ac-c4f4-446a-aea7-2d9507f60b0e" providerId="AD" clId="Web-{01442759-0A10-439A-B23B-C39A4D3105B9}" dt="2020-10-23T07:26:23.743" v="1" actId="20577"/>
      <pc:docMkLst>
        <pc:docMk/>
      </pc:docMkLst>
      <pc:sldChg chg="modSp add replId">
        <pc:chgData name="Jonsson Åsa" userId="S::asa.jonsson@inera.se::e7c157ac-c4f4-446a-aea7-2d9507f60b0e" providerId="AD" clId="Web-{01442759-0A10-439A-B23B-C39A4D3105B9}" dt="2020-10-23T07:26:23.743" v="1" actId="20577"/>
        <pc:sldMkLst>
          <pc:docMk/>
          <pc:sldMk cId="868890630" sldId="338"/>
        </pc:sldMkLst>
        <pc:spChg chg="mod">
          <ac:chgData name="Jonsson Åsa" userId="S::asa.jonsson@inera.se::e7c157ac-c4f4-446a-aea7-2d9507f60b0e" providerId="AD" clId="Web-{01442759-0A10-439A-B23B-C39A4D3105B9}" dt="2020-10-23T07:26:23.743" v="1" actId="20577"/>
          <ac:spMkLst>
            <pc:docMk/>
            <pc:sldMk cId="868890630" sldId="338"/>
            <ac:spMk id="3" creationId="{1F6A61D0-C9A9-4590-A7BC-2BC87D50447B}"/>
          </ac:spMkLst>
        </pc:spChg>
      </pc:sldChg>
    </pc:docChg>
  </pc:docChgLst>
  <pc:docChgLst>
    <pc:chgData name="Axelsson Jenny" userId="S::jenny.axelsson@inera.se::35153831-a041-4e19-963c-026d50be729b" providerId="AD" clId="Web-{01217C22-2300-4D8F-ADC3-A6396DC8971F}"/>
    <pc:docChg chg="modSld">
      <pc:chgData name="Axelsson Jenny" userId="S::jenny.axelsson@inera.se::35153831-a041-4e19-963c-026d50be729b" providerId="AD" clId="Web-{01217C22-2300-4D8F-ADC3-A6396DC8971F}" dt="2020-10-21T14:34:00.740" v="0"/>
      <pc:docMkLst>
        <pc:docMk/>
      </pc:docMkLst>
      <pc:sldChg chg="modAnim">
        <pc:chgData name="Axelsson Jenny" userId="S::jenny.axelsson@inera.se::35153831-a041-4e19-963c-026d50be729b" providerId="AD" clId="Web-{01217C22-2300-4D8F-ADC3-A6396DC8971F}" dt="2020-10-21T14:34:00.740" v="0"/>
        <pc:sldMkLst>
          <pc:docMk/>
          <pc:sldMk cId="2877388535" sldId="332"/>
        </pc:sldMkLst>
      </pc:sldChg>
    </pc:docChg>
  </pc:docChgLst>
  <pc:docChgLst>
    <pc:chgData name="Axelsson Jenny" userId="S::jenny.axelsson@inera.se::35153831-a041-4e19-963c-026d50be729b" providerId="AD" clId="Web-{00772ECF-8C73-46EB-820A-62A51DF715AE}"/>
    <pc:docChg chg="modSld">
      <pc:chgData name="Axelsson Jenny" userId="S::jenny.axelsson@inera.se::35153831-a041-4e19-963c-026d50be729b" providerId="AD" clId="Web-{00772ECF-8C73-46EB-820A-62A51DF715AE}" dt="2020-10-22T06:39:12.628" v="5" actId="20577"/>
      <pc:docMkLst>
        <pc:docMk/>
      </pc:docMkLst>
      <pc:sldChg chg="modSp">
        <pc:chgData name="Axelsson Jenny" userId="S::jenny.axelsson@inera.se::35153831-a041-4e19-963c-026d50be729b" providerId="AD" clId="Web-{00772ECF-8C73-46EB-820A-62A51DF715AE}" dt="2020-10-22T06:39:12.628" v="5" actId="20577"/>
        <pc:sldMkLst>
          <pc:docMk/>
          <pc:sldMk cId="1127002852" sldId="333"/>
        </pc:sldMkLst>
        <pc:spChg chg="mod">
          <ac:chgData name="Axelsson Jenny" userId="S::jenny.axelsson@inera.se::35153831-a041-4e19-963c-026d50be729b" providerId="AD" clId="Web-{00772ECF-8C73-46EB-820A-62A51DF715AE}" dt="2020-10-22T06:39:12.628" v="5" actId="20577"/>
          <ac:spMkLst>
            <pc:docMk/>
            <pc:sldMk cId="1127002852" sldId="333"/>
            <ac:spMk id="3" creationId="{DD9924C0-F0EC-45BF-8C30-3AA8ED38146D}"/>
          </ac:spMkLst>
        </pc:spChg>
      </pc:sldChg>
    </pc:docChg>
  </pc:docChgLst>
  <pc:docChgLst>
    <pc:chgData name="Axelsson Jenny" userId="S::jenny.axelsson@inera.se::35153831-a041-4e19-963c-026d50be729b" providerId="AD" clId="Web-{FE2C0B25-96B3-4BE2-A54C-E4532995184B}"/>
    <pc:docChg chg="addSld delSld modSld sldOrd">
      <pc:chgData name="Axelsson Jenny" userId="S::jenny.axelsson@inera.se::35153831-a041-4e19-963c-026d50be729b" providerId="AD" clId="Web-{FE2C0B25-96B3-4BE2-A54C-E4532995184B}" dt="2020-10-20T11:50:23.192" v="114" actId="20577"/>
      <pc:docMkLst>
        <pc:docMk/>
      </pc:docMkLst>
      <pc:sldChg chg="delSp modSp">
        <pc:chgData name="Axelsson Jenny" userId="S::jenny.axelsson@inera.se::35153831-a041-4e19-963c-026d50be729b" providerId="AD" clId="Web-{FE2C0B25-96B3-4BE2-A54C-E4532995184B}" dt="2020-10-20T11:28:47.486" v="29" actId="20577"/>
        <pc:sldMkLst>
          <pc:docMk/>
          <pc:sldMk cId="1036871477" sldId="264"/>
        </pc:sldMkLst>
        <pc:spChg chg="mod">
          <ac:chgData name="Axelsson Jenny" userId="S::jenny.axelsson@inera.se::35153831-a041-4e19-963c-026d50be729b" providerId="AD" clId="Web-{FE2C0B25-96B3-4BE2-A54C-E4532995184B}" dt="2020-10-20T11:28:47.486" v="29" actId="20577"/>
          <ac:spMkLst>
            <pc:docMk/>
            <pc:sldMk cId="1036871477" sldId="264"/>
            <ac:spMk id="3" creationId="{3E215758-AD04-4783-8B7A-EA30D128D138}"/>
          </ac:spMkLst>
        </pc:spChg>
        <pc:picChg chg="del">
          <ac:chgData name="Axelsson Jenny" userId="S::jenny.axelsson@inera.se::35153831-a041-4e19-963c-026d50be729b" providerId="AD" clId="Web-{FE2C0B25-96B3-4BE2-A54C-E4532995184B}" dt="2020-10-20T11:28:13.516" v="2"/>
          <ac:picMkLst>
            <pc:docMk/>
            <pc:sldMk cId="1036871477" sldId="264"/>
            <ac:picMk id="5" creationId="{9770DD3B-7684-4963-9E68-7E2FCFF30AF4}"/>
          </ac:picMkLst>
        </pc:picChg>
      </pc:sldChg>
      <pc:sldChg chg="modSp">
        <pc:chgData name="Axelsson Jenny" userId="S::jenny.axelsson@inera.se::35153831-a041-4e19-963c-026d50be729b" providerId="AD" clId="Web-{FE2C0B25-96B3-4BE2-A54C-E4532995184B}" dt="2020-10-20T11:48:38.081" v="85" actId="20577"/>
        <pc:sldMkLst>
          <pc:docMk/>
          <pc:sldMk cId="1351546238" sldId="267"/>
        </pc:sldMkLst>
        <pc:spChg chg="mod">
          <ac:chgData name="Axelsson Jenny" userId="S::jenny.axelsson@inera.se::35153831-a041-4e19-963c-026d50be729b" providerId="AD" clId="Web-{FE2C0B25-96B3-4BE2-A54C-E4532995184B}" dt="2020-10-20T11:48:38.081" v="85" actId="20577"/>
          <ac:spMkLst>
            <pc:docMk/>
            <pc:sldMk cId="1351546238" sldId="267"/>
            <ac:spMk id="5" creationId="{E66C5368-8331-464F-8C50-5BB97655E8A7}"/>
          </ac:spMkLst>
        </pc:spChg>
      </pc:sldChg>
      <pc:sldChg chg="del ord">
        <pc:chgData name="Axelsson Jenny" userId="S::jenny.axelsson@inera.se::35153831-a041-4e19-963c-026d50be729b" providerId="AD" clId="Web-{FE2C0B25-96B3-4BE2-A54C-E4532995184B}" dt="2020-10-20T11:50:09.207" v="111"/>
        <pc:sldMkLst>
          <pc:docMk/>
          <pc:sldMk cId="3229524361" sldId="272"/>
        </pc:sldMkLst>
      </pc:sldChg>
      <pc:sldChg chg="addSp delSp modSp">
        <pc:chgData name="Axelsson Jenny" userId="S::jenny.axelsson@inera.se::35153831-a041-4e19-963c-026d50be729b" providerId="AD" clId="Web-{FE2C0B25-96B3-4BE2-A54C-E4532995184B}" dt="2020-10-20T11:48:48.753" v="91" actId="20577"/>
        <pc:sldMkLst>
          <pc:docMk/>
          <pc:sldMk cId="2850266236" sldId="300"/>
        </pc:sldMkLst>
        <pc:spChg chg="add mod">
          <ac:chgData name="Axelsson Jenny" userId="S::jenny.axelsson@inera.se::35153831-a041-4e19-963c-026d50be729b" providerId="AD" clId="Web-{FE2C0B25-96B3-4BE2-A54C-E4532995184B}" dt="2020-10-20T11:48:48.753" v="91" actId="20577"/>
          <ac:spMkLst>
            <pc:docMk/>
            <pc:sldMk cId="2850266236" sldId="300"/>
            <ac:spMk id="3" creationId="{28E8375E-288E-4539-ABE4-FC3D347AF916}"/>
          </ac:spMkLst>
        </pc:spChg>
        <pc:spChg chg="del mod">
          <ac:chgData name="Axelsson Jenny" userId="S::jenny.axelsson@inera.se::35153831-a041-4e19-963c-026d50be729b" providerId="AD" clId="Web-{FE2C0B25-96B3-4BE2-A54C-E4532995184B}" dt="2020-10-20T11:48:07.784" v="75"/>
          <ac:spMkLst>
            <pc:docMk/>
            <pc:sldMk cId="2850266236" sldId="300"/>
            <ac:spMk id="5" creationId="{E66C5368-8331-464F-8C50-5BB97655E8A7}"/>
          </ac:spMkLst>
        </pc:spChg>
      </pc:sldChg>
      <pc:sldChg chg="modSp">
        <pc:chgData name="Axelsson Jenny" userId="S::jenny.axelsson@inera.se::35153831-a041-4e19-963c-026d50be729b" providerId="AD" clId="Web-{FE2C0B25-96B3-4BE2-A54C-E4532995184B}" dt="2020-10-20T11:28:01.298" v="1" actId="20577"/>
        <pc:sldMkLst>
          <pc:docMk/>
          <pc:sldMk cId="2974578957" sldId="312"/>
        </pc:sldMkLst>
        <pc:spChg chg="mod">
          <ac:chgData name="Axelsson Jenny" userId="S::jenny.axelsson@inera.se::35153831-a041-4e19-963c-026d50be729b" providerId="AD" clId="Web-{FE2C0B25-96B3-4BE2-A54C-E4532995184B}" dt="2020-10-20T11:28:01.298" v="1" actId="20577"/>
          <ac:spMkLst>
            <pc:docMk/>
            <pc:sldMk cId="2974578957" sldId="312"/>
            <ac:spMk id="4" creationId="{7C3A8192-81A1-4B54-8CE2-055E1C43C19C}"/>
          </ac:spMkLst>
        </pc:spChg>
      </pc:sldChg>
      <pc:sldChg chg="modSp new del">
        <pc:chgData name="Axelsson Jenny" userId="S::jenny.axelsson@inera.se::35153831-a041-4e19-963c-026d50be729b" providerId="AD" clId="Web-{FE2C0B25-96B3-4BE2-A54C-E4532995184B}" dt="2020-10-20T11:48:55.472" v="92"/>
        <pc:sldMkLst>
          <pc:docMk/>
          <pc:sldMk cId="1779569855" sldId="321"/>
        </pc:sldMkLst>
        <pc:spChg chg="mod">
          <ac:chgData name="Axelsson Jenny" userId="S::jenny.axelsson@inera.se::35153831-a041-4e19-963c-026d50be729b" providerId="AD" clId="Web-{FE2C0B25-96B3-4BE2-A54C-E4532995184B}" dt="2020-10-20T11:47:19.127" v="41" actId="20577"/>
          <ac:spMkLst>
            <pc:docMk/>
            <pc:sldMk cId="1779569855" sldId="321"/>
            <ac:spMk id="2" creationId="{908181B9-7B4C-4A49-AC42-50267B1E2683}"/>
          </ac:spMkLst>
        </pc:spChg>
      </pc:sldChg>
      <pc:sldChg chg="modSp add replId">
        <pc:chgData name="Axelsson Jenny" userId="S::jenny.axelsson@inera.se::35153831-a041-4e19-963c-026d50be729b" providerId="AD" clId="Web-{FE2C0B25-96B3-4BE2-A54C-E4532995184B}" dt="2020-10-20T11:49:21.597" v="98" actId="20577"/>
        <pc:sldMkLst>
          <pc:docMk/>
          <pc:sldMk cId="3432975137" sldId="321"/>
        </pc:sldMkLst>
        <pc:spChg chg="mod">
          <ac:chgData name="Axelsson Jenny" userId="S::jenny.axelsson@inera.se::35153831-a041-4e19-963c-026d50be729b" providerId="AD" clId="Web-{FE2C0B25-96B3-4BE2-A54C-E4532995184B}" dt="2020-10-20T11:49:21.597" v="98" actId="20577"/>
          <ac:spMkLst>
            <pc:docMk/>
            <pc:sldMk cId="3432975137" sldId="321"/>
            <ac:spMk id="3" creationId="{28E8375E-288E-4539-ABE4-FC3D347AF916}"/>
          </ac:spMkLst>
        </pc:spChg>
      </pc:sldChg>
      <pc:sldChg chg="modSp add replId">
        <pc:chgData name="Axelsson Jenny" userId="S::jenny.axelsson@inera.se::35153831-a041-4e19-963c-026d50be729b" providerId="AD" clId="Web-{FE2C0B25-96B3-4BE2-A54C-E4532995184B}" dt="2020-10-20T11:49:29.629" v="100" actId="20577"/>
        <pc:sldMkLst>
          <pc:docMk/>
          <pc:sldMk cId="2070488168" sldId="322"/>
        </pc:sldMkLst>
        <pc:spChg chg="mod">
          <ac:chgData name="Axelsson Jenny" userId="S::jenny.axelsson@inera.se::35153831-a041-4e19-963c-026d50be729b" providerId="AD" clId="Web-{FE2C0B25-96B3-4BE2-A54C-E4532995184B}" dt="2020-10-20T11:49:29.629" v="100" actId="20577"/>
          <ac:spMkLst>
            <pc:docMk/>
            <pc:sldMk cId="2070488168" sldId="322"/>
            <ac:spMk id="3" creationId="{28E8375E-288E-4539-ABE4-FC3D347AF916}"/>
          </ac:spMkLst>
        </pc:spChg>
      </pc:sldChg>
      <pc:sldChg chg="modSp add replId">
        <pc:chgData name="Axelsson Jenny" userId="S::jenny.axelsson@inera.se::35153831-a041-4e19-963c-026d50be729b" providerId="AD" clId="Web-{FE2C0B25-96B3-4BE2-A54C-E4532995184B}" dt="2020-10-20T11:49:38.238" v="102" actId="20577"/>
        <pc:sldMkLst>
          <pc:docMk/>
          <pc:sldMk cId="965591547" sldId="323"/>
        </pc:sldMkLst>
        <pc:spChg chg="mod">
          <ac:chgData name="Axelsson Jenny" userId="S::jenny.axelsson@inera.se::35153831-a041-4e19-963c-026d50be729b" providerId="AD" clId="Web-{FE2C0B25-96B3-4BE2-A54C-E4532995184B}" dt="2020-10-20T11:49:38.238" v="102" actId="20577"/>
          <ac:spMkLst>
            <pc:docMk/>
            <pc:sldMk cId="965591547" sldId="323"/>
            <ac:spMk id="3" creationId="{28E8375E-288E-4539-ABE4-FC3D347AF916}"/>
          </ac:spMkLst>
        </pc:spChg>
      </pc:sldChg>
      <pc:sldChg chg="new del">
        <pc:chgData name="Axelsson Jenny" userId="S::jenny.axelsson@inera.se::35153831-a041-4e19-963c-026d50be729b" providerId="AD" clId="Web-{FE2C0B25-96B3-4BE2-A54C-E4532995184B}" dt="2020-10-20T11:49:48.316" v="105"/>
        <pc:sldMkLst>
          <pc:docMk/>
          <pc:sldMk cId="616934573" sldId="324"/>
        </pc:sldMkLst>
      </pc:sldChg>
      <pc:sldChg chg="modSp add replId">
        <pc:chgData name="Axelsson Jenny" userId="S::jenny.axelsson@inera.se::35153831-a041-4e19-963c-026d50be729b" providerId="AD" clId="Web-{FE2C0B25-96B3-4BE2-A54C-E4532995184B}" dt="2020-10-20T11:49:56.301" v="107" actId="20577"/>
        <pc:sldMkLst>
          <pc:docMk/>
          <pc:sldMk cId="129400259" sldId="325"/>
        </pc:sldMkLst>
        <pc:spChg chg="mod">
          <ac:chgData name="Axelsson Jenny" userId="S::jenny.axelsson@inera.se::35153831-a041-4e19-963c-026d50be729b" providerId="AD" clId="Web-{FE2C0B25-96B3-4BE2-A54C-E4532995184B}" dt="2020-10-20T11:49:56.301" v="107" actId="20577"/>
          <ac:spMkLst>
            <pc:docMk/>
            <pc:sldMk cId="129400259" sldId="325"/>
            <ac:spMk id="3" creationId="{28E8375E-288E-4539-ABE4-FC3D347AF916}"/>
          </ac:spMkLst>
        </pc:spChg>
      </pc:sldChg>
      <pc:sldChg chg="new del">
        <pc:chgData name="Axelsson Jenny" userId="S::jenny.axelsson@inera.se::35153831-a041-4e19-963c-026d50be729b" providerId="AD" clId="Web-{FE2C0B25-96B3-4BE2-A54C-E4532995184B}" dt="2020-10-20T11:50:04.535" v="110"/>
        <pc:sldMkLst>
          <pc:docMk/>
          <pc:sldMk cId="842210616" sldId="326"/>
        </pc:sldMkLst>
      </pc:sldChg>
      <pc:sldChg chg="modSp add replId">
        <pc:chgData name="Axelsson Jenny" userId="S::jenny.axelsson@inera.se::35153831-a041-4e19-963c-026d50be729b" providerId="AD" clId="Web-{FE2C0B25-96B3-4BE2-A54C-E4532995184B}" dt="2020-10-20T11:50:23.192" v="114" actId="20577"/>
        <pc:sldMkLst>
          <pc:docMk/>
          <pc:sldMk cId="243403172" sldId="327"/>
        </pc:sldMkLst>
        <pc:spChg chg="mod">
          <ac:chgData name="Axelsson Jenny" userId="S::jenny.axelsson@inera.se::35153831-a041-4e19-963c-026d50be729b" providerId="AD" clId="Web-{FE2C0B25-96B3-4BE2-A54C-E4532995184B}" dt="2020-10-20T11:50:23.192" v="114" actId="20577"/>
          <ac:spMkLst>
            <pc:docMk/>
            <pc:sldMk cId="243403172" sldId="327"/>
            <ac:spMk id="3" creationId="{28E8375E-288E-4539-ABE4-FC3D347AF916}"/>
          </ac:spMkLst>
        </pc:spChg>
      </pc:sldChg>
    </pc:docChg>
  </pc:docChgLst>
  <pc:docChgLst>
    <pc:chgData name="Axelsson Jenny" userId="S::jenny.axelsson@inera.se::35153831-a041-4e19-963c-026d50be729b" providerId="AD" clId="Web-{65B92010-1E86-4F0B-A6FF-0F809DDB34E6}"/>
    <pc:docChg chg="addSld delSld modSld">
      <pc:chgData name="Axelsson Jenny" userId="S::jenny.axelsson@inera.se::35153831-a041-4e19-963c-026d50be729b" providerId="AD" clId="Web-{65B92010-1E86-4F0B-A6FF-0F809DDB34E6}" dt="2020-10-21T14:59:57.383" v="97" actId="1076"/>
      <pc:docMkLst>
        <pc:docMk/>
      </pc:docMkLst>
      <pc:sldChg chg="addSp delSp modSp del mod modClrScheme addAnim delAnim chgLayout">
        <pc:chgData name="Axelsson Jenny" userId="S::jenny.axelsson@inera.se::35153831-a041-4e19-963c-026d50be729b" providerId="AD" clId="Web-{65B92010-1E86-4F0B-A6FF-0F809DDB34E6}" dt="2020-10-21T14:59:10.180" v="68"/>
        <pc:sldMkLst>
          <pc:docMk/>
          <pc:sldMk cId="2877388535" sldId="332"/>
        </pc:sldMkLst>
        <pc:spChg chg="add del mod">
          <ac:chgData name="Axelsson Jenny" userId="S::jenny.axelsson@inera.se::35153831-a041-4e19-963c-026d50be729b" providerId="AD" clId="Web-{65B92010-1E86-4F0B-A6FF-0F809DDB34E6}" dt="2020-10-21T14:51:31.658" v="5"/>
          <ac:spMkLst>
            <pc:docMk/>
            <pc:sldMk cId="2877388535" sldId="332"/>
            <ac:spMk id="3" creationId="{8CBFF3D1-BFC6-4396-96DA-8A5EBAB06B6C}"/>
          </ac:spMkLst>
        </pc:spChg>
        <pc:spChg chg="ord">
          <ac:chgData name="Axelsson Jenny" userId="S::jenny.axelsson@inera.se::35153831-a041-4e19-963c-026d50be729b" providerId="AD" clId="Web-{65B92010-1E86-4F0B-A6FF-0F809DDB34E6}" dt="2020-10-21T14:57:44.756" v="50"/>
          <ac:spMkLst>
            <pc:docMk/>
            <pc:sldMk cId="2877388535" sldId="332"/>
            <ac:spMk id="5" creationId="{F3F8E465-E035-413E-B89A-4F3C7548DA2F}"/>
          </ac:spMkLst>
        </pc:spChg>
        <pc:spChg chg="add del mod">
          <ac:chgData name="Axelsson Jenny" userId="S::jenny.axelsson@inera.se::35153831-a041-4e19-963c-026d50be729b" providerId="AD" clId="Web-{65B92010-1E86-4F0B-A6FF-0F809DDB34E6}" dt="2020-10-21T14:53:16.003" v="16"/>
          <ac:spMkLst>
            <pc:docMk/>
            <pc:sldMk cId="2877388535" sldId="332"/>
            <ac:spMk id="7" creationId="{2D4C962B-5DCF-4352-971E-EC4D2D53813D}"/>
          </ac:spMkLst>
        </pc:spChg>
        <pc:spChg chg="add del mod">
          <ac:chgData name="Axelsson Jenny" userId="S::jenny.axelsson@inera.se::35153831-a041-4e19-963c-026d50be729b" providerId="AD" clId="Web-{65B92010-1E86-4F0B-A6FF-0F809DDB34E6}" dt="2020-10-21T14:56:14.380" v="42"/>
          <ac:spMkLst>
            <pc:docMk/>
            <pc:sldMk cId="2877388535" sldId="332"/>
            <ac:spMk id="10" creationId="{4444F94E-9D23-413B-9220-52DE6B7B54FA}"/>
          </ac:spMkLst>
        </pc:spChg>
        <pc:spChg chg="add del mod">
          <ac:chgData name="Axelsson Jenny" userId="S::jenny.axelsson@inera.se::35153831-a041-4e19-963c-026d50be729b" providerId="AD" clId="Web-{65B92010-1E86-4F0B-A6FF-0F809DDB34E6}" dt="2020-10-21T14:56:45.599" v="46"/>
          <ac:spMkLst>
            <pc:docMk/>
            <pc:sldMk cId="2877388535" sldId="332"/>
            <ac:spMk id="13" creationId="{F29E8B97-D752-40C9-8AEC-B9B1A79D4EC4}"/>
          </ac:spMkLst>
        </pc:spChg>
        <pc:spChg chg="del">
          <ac:chgData name="Axelsson Jenny" userId="S::jenny.axelsson@inera.se::35153831-a041-4e19-963c-026d50be729b" providerId="AD" clId="Web-{65B92010-1E86-4F0B-A6FF-0F809DDB34E6}" dt="2020-10-21T14:57:44.756" v="50"/>
          <ac:spMkLst>
            <pc:docMk/>
            <pc:sldMk cId="2877388535" sldId="332"/>
            <ac:spMk id="17" creationId="{D48DB342-9D5E-4D9B-87AE-DB44BB2C588A}"/>
          </ac:spMkLst>
        </pc:spChg>
        <pc:spChg chg="add del mod">
          <ac:chgData name="Axelsson Jenny" userId="S::jenny.axelsson@inera.se::35153831-a041-4e19-963c-026d50be729b" providerId="AD" clId="Web-{65B92010-1E86-4F0B-A6FF-0F809DDB34E6}" dt="2020-10-21T14:57:37.006" v="49"/>
          <ac:spMkLst>
            <pc:docMk/>
            <pc:sldMk cId="2877388535" sldId="332"/>
            <ac:spMk id="18" creationId="{6A8A3960-8031-4919-AF93-68161EC9DF4D}"/>
          </ac:spMkLst>
        </pc:spChg>
        <pc:spChg chg="mod">
          <ac:chgData name="Axelsson Jenny" userId="S::jenny.axelsson@inera.se::35153831-a041-4e19-963c-026d50be729b" providerId="AD" clId="Web-{65B92010-1E86-4F0B-A6FF-0F809DDB34E6}" dt="2020-10-21T14:57:44.756" v="50"/>
          <ac:spMkLst>
            <pc:docMk/>
            <pc:sldMk cId="2877388535" sldId="332"/>
            <ac:spMk id="21" creationId="{DC6CA635-68C5-440A-AC0A-2A033E15D383}"/>
          </ac:spMkLst>
        </pc:spChg>
        <pc:spChg chg="add del mod">
          <ac:chgData name="Axelsson Jenny" userId="S::jenny.axelsson@inera.se::35153831-a041-4e19-963c-026d50be729b" providerId="AD" clId="Web-{65B92010-1E86-4F0B-A6FF-0F809DDB34E6}" dt="2020-10-21T14:58:16.038" v="56"/>
          <ac:spMkLst>
            <pc:docMk/>
            <pc:sldMk cId="2877388535" sldId="332"/>
            <ac:spMk id="22" creationId="{B3EB05AE-883E-4284-9E35-EEB28C4930E0}"/>
          </ac:spMkLst>
        </pc:spChg>
        <pc:spChg chg="mod">
          <ac:chgData name="Axelsson Jenny" userId="S::jenny.axelsson@inera.se::35153831-a041-4e19-963c-026d50be729b" providerId="AD" clId="Web-{65B92010-1E86-4F0B-A6FF-0F809DDB34E6}" dt="2020-10-21T14:57:44.756" v="50"/>
          <ac:spMkLst>
            <pc:docMk/>
            <pc:sldMk cId="2877388535" sldId="332"/>
            <ac:spMk id="23" creationId="{363DE621-AA64-4F34-9E46-EFE72F572CD6}"/>
          </ac:spMkLst>
        </pc:spChg>
        <pc:spChg chg="add mod">
          <ac:chgData name="Axelsson Jenny" userId="S::jenny.axelsson@inera.se::35153831-a041-4e19-963c-026d50be729b" providerId="AD" clId="Web-{65B92010-1E86-4F0B-A6FF-0F809DDB34E6}" dt="2020-10-21T14:59:07.445" v="67"/>
          <ac:spMkLst>
            <pc:docMk/>
            <pc:sldMk cId="2877388535" sldId="332"/>
            <ac:spMk id="25" creationId="{E1F9414B-038A-4E65-9460-D9E7B084ACAC}"/>
          </ac:spMkLst>
        </pc:spChg>
        <pc:picChg chg="add del mod ord modCrop">
          <ac:chgData name="Axelsson Jenny" userId="S::jenny.axelsson@inera.se::35153831-a041-4e19-963c-026d50be729b" providerId="AD" clId="Web-{65B92010-1E86-4F0B-A6FF-0F809DDB34E6}" dt="2020-10-21T14:51:31.126" v="4"/>
          <ac:picMkLst>
            <pc:docMk/>
            <pc:sldMk cId="2877388535" sldId="332"/>
            <ac:picMk id="4" creationId="{CF74999A-EAA1-48B5-BE47-A6CB905AD330}"/>
          </ac:picMkLst>
        </pc:picChg>
        <pc:picChg chg="add del mod ord modCrop">
          <ac:chgData name="Axelsson Jenny" userId="S::jenny.axelsson@inera.se::35153831-a041-4e19-963c-026d50be729b" providerId="AD" clId="Web-{65B92010-1E86-4F0B-A6FF-0F809DDB34E6}" dt="2020-10-21T14:53:14.721" v="15"/>
          <ac:picMkLst>
            <pc:docMk/>
            <pc:sldMk cId="2877388535" sldId="332"/>
            <ac:picMk id="8" creationId="{3E55FA36-C046-466B-9D28-EF780DD821F6}"/>
          </ac:picMkLst>
        </pc:picChg>
        <pc:picChg chg="add del mod ord modCrop">
          <ac:chgData name="Axelsson Jenny" userId="S::jenny.axelsson@inera.se::35153831-a041-4e19-963c-026d50be729b" providerId="AD" clId="Web-{65B92010-1E86-4F0B-A6FF-0F809DDB34E6}" dt="2020-10-21T14:56:41.631" v="45"/>
          <ac:picMkLst>
            <pc:docMk/>
            <pc:sldMk cId="2877388535" sldId="332"/>
            <ac:picMk id="11" creationId="{ADE7EEE9-97DA-48F0-A711-62F51C816AC3}"/>
          </ac:picMkLst>
        </pc:picChg>
        <pc:picChg chg="add del">
          <ac:chgData name="Axelsson Jenny" userId="S::jenny.axelsson@inera.se::35153831-a041-4e19-963c-026d50be729b" providerId="AD" clId="Web-{65B92010-1E86-4F0B-A6FF-0F809DDB34E6}" dt="2020-10-21T14:56:10.365" v="41"/>
          <ac:picMkLst>
            <pc:docMk/>
            <pc:sldMk cId="2877388535" sldId="332"/>
            <ac:picMk id="14" creationId="{69D3EAE1-61BE-4A55-899A-4B37681EB13C}"/>
          </ac:picMkLst>
        </pc:picChg>
        <pc:picChg chg="add del mod ord modCrop">
          <ac:chgData name="Axelsson Jenny" userId="S::jenny.axelsson@inera.se::35153831-a041-4e19-963c-026d50be729b" providerId="AD" clId="Web-{65B92010-1E86-4F0B-A6FF-0F809DDB34E6}" dt="2020-10-21T14:56:55.084" v="48"/>
          <ac:picMkLst>
            <pc:docMk/>
            <pc:sldMk cId="2877388535" sldId="332"/>
            <ac:picMk id="15" creationId="{A1CDA4B5-3EE0-4E6D-90F1-B31DFB48C5EB}"/>
          </ac:picMkLst>
        </pc:picChg>
        <pc:picChg chg="add del mod ord modCrop">
          <ac:chgData name="Axelsson Jenny" userId="S::jenny.axelsson@inera.se::35153831-a041-4e19-963c-026d50be729b" providerId="AD" clId="Web-{65B92010-1E86-4F0B-A6FF-0F809DDB34E6}" dt="2020-10-21T14:59:07.445" v="67"/>
          <ac:picMkLst>
            <pc:docMk/>
            <pc:sldMk cId="2877388535" sldId="332"/>
            <ac:picMk id="19" creationId="{E99E72DB-CBD8-406F-AF00-B6F93CA74C48}"/>
          </ac:picMkLst>
        </pc:picChg>
      </pc:sldChg>
      <pc:sldChg chg="addSp delSp modSp new mod modClrScheme chgLayout">
        <pc:chgData name="Axelsson Jenny" userId="S::jenny.axelsson@inera.se::35153831-a041-4e19-963c-026d50be729b" providerId="AD" clId="Web-{65B92010-1E86-4F0B-A6FF-0F809DDB34E6}" dt="2020-10-21T14:59:57.383" v="97" actId="1076"/>
        <pc:sldMkLst>
          <pc:docMk/>
          <pc:sldMk cId="973537515" sldId="334"/>
        </pc:sldMkLst>
        <pc:spChg chg="del mod ord">
          <ac:chgData name="Axelsson Jenny" userId="S::jenny.axelsson@inera.se::35153831-a041-4e19-963c-026d50be729b" providerId="AD" clId="Web-{65B92010-1E86-4F0B-A6FF-0F809DDB34E6}" dt="2020-10-21T14:56:03.974" v="40"/>
          <ac:spMkLst>
            <pc:docMk/>
            <pc:sldMk cId="973537515" sldId="334"/>
            <ac:spMk id="2" creationId="{6EFB47A9-C1C1-43D7-AF7A-86CF9EB898EC}"/>
          </ac:spMkLst>
        </pc:spChg>
        <pc:spChg chg="del mod ord">
          <ac:chgData name="Axelsson Jenny" userId="S::jenny.axelsson@inera.se::35153831-a041-4e19-963c-026d50be729b" providerId="AD" clId="Web-{65B92010-1E86-4F0B-A6FF-0F809DDB34E6}" dt="2020-10-21T14:54:33.988" v="24"/>
          <ac:spMkLst>
            <pc:docMk/>
            <pc:sldMk cId="973537515" sldId="334"/>
            <ac:spMk id="3" creationId="{FB5CE606-41C5-4D7A-8BE3-B825A5C7A52E}"/>
          </ac:spMkLst>
        </pc:spChg>
        <pc:spChg chg="del mod ord">
          <ac:chgData name="Axelsson Jenny" userId="S::jenny.axelsson@inera.se::35153831-a041-4e19-963c-026d50be729b" providerId="AD" clId="Web-{65B92010-1E86-4F0B-A6FF-0F809DDB34E6}" dt="2020-10-21T14:56:03.974" v="40"/>
          <ac:spMkLst>
            <pc:docMk/>
            <pc:sldMk cId="973537515" sldId="334"/>
            <ac:spMk id="4" creationId="{6D2CB2DF-46E4-4A88-AF5A-C2A5D0B65CE5}"/>
          </ac:spMkLst>
        </pc:spChg>
        <pc:spChg chg="mod ord">
          <ac:chgData name="Axelsson Jenny" userId="S::jenny.axelsson@inera.se::35153831-a041-4e19-963c-026d50be729b" providerId="AD" clId="Web-{65B92010-1E86-4F0B-A6FF-0F809DDB34E6}" dt="2020-10-21T14:56:03.974" v="40"/>
          <ac:spMkLst>
            <pc:docMk/>
            <pc:sldMk cId="973537515" sldId="334"/>
            <ac:spMk id="5" creationId="{E19B1931-D2C7-4F0E-B57B-C7EF7A0944D7}"/>
          </ac:spMkLst>
        </pc:spChg>
        <pc:spChg chg="del">
          <ac:chgData name="Axelsson Jenny" userId="S::jenny.axelsson@inera.se::35153831-a041-4e19-963c-026d50be729b" providerId="AD" clId="Web-{65B92010-1E86-4F0B-A6FF-0F809DDB34E6}" dt="2020-10-21T14:54:11.332" v="19"/>
          <ac:spMkLst>
            <pc:docMk/>
            <pc:sldMk cId="973537515" sldId="334"/>
            <ac:spMk id="6" creationId="{37D316ED-2DE7-47A4-A411-694B1E64C476}"/>
          </ac:spMkLst>
        </pc:spChg>
        <pc:spChg chg="add del mod ord">
          <ac:chgData name="Axelsson Jenny" userId="S::jenny.axelsson@inera.se::35153831-a041-4e19-963c-026d50be729b" providerId="AD" clId="Web-{65B92010-1E86-4F0B-A6FF-0F809DDB34E6}" dt="2020-10-21T14:54:46.223" v="28"/>
          <ac:spMkLst>
            <pc:docMk/>
            <pc:sldMk cId="973537515" sldId="334"/>
            <ac:spMk id="7" creationId="{85FBFB1B-A9B9-4979-AC9C-2B635CA548D8}"/>
          </ac:spMkLst>
        </pc:spChg>
        <pc:spChg chg="add del mod">
          <ac:chgData name="Axelsson Jenny" userId="S::jenny.axelsson@inera.se::35153831-a041-4e19-963c-026d50be729b" providerId="AD" clId="Web-{65B92010-1E86-4F0B-A6FF-0F809DDB34E6}" dt="2020-10-21T14:55:04.661" v="33"/>
          <ac:spMkLst>
            <pc:docMk/>
            <pc:sldMk cId="973537515" sldId="334"/>
            <ac:spMk id="10" creationId="{3BC44A2E-CD02-4EAA-ABFF-8B5D28E21F48}"/>
          </ac:spMkLst>
        </pc:spChg>
        <pc:spChg chg="add del mod">
          <ac:chgData name="Axelsson Jenny" userId="S::jenny.axelsson@inera.se::35153831-a041-4e19-963c-026d50be729b" providerId="AD" clId="Web-{65B92010-1E86-4F0B-A6FF-0F809DDB34E6}" dt="2020-10-21T14:55:29.723" v="38"/>
          <ac:spMkLst>
            <pc:docMk/>
            <pc:sldMk cId="973537515" sldId="334"/>
            <ac:spMk id="13" creationId="{2C329EBE-E0A4-46E7-B984-372806BCF713}"/>
          </ac:spMkLst>
        </pc:spChg>
        <pc:spChg chg="add del mod">
          <ac:chgData name="Axelsson Jenny" userId="S::jenny.axelsson@inera.se::35153831-a041-4e19-963c-026d50be729b" providerId="AD" clId="Web-{65B92010-1E86-4F0B-A6FF-0F809DDB34E6}" dt="2020-10-21T14:58:23.929" v="58"/>
          <ac:spMkLst>
            <pc:docMk/>
            <pc:sldMk cId="973537515" sldId="334"/>
            <ac:spMk id="16" creationId="{598BD91A-6B26-451B-BAB2-0BD576171463}"/>
          </ac:spMkLst>
        </pc:spChg>
        <pc:spChg chg="add mod">
          <ac:chgData name="Axelsson Jenny" userId="S::jenny.axelsson@inera.se::35153831-a041-4e19-963c-026d50be729b" providerId="AD" clId="Web-{65B92010-1E86-4F0B-A6FF-0F809DDB34E6}" dt="2020-10-21T14:59:57.383" v="97" actId="1076"/>
          <ac:spMkLst>
            <pc:docMk/>
            <pc:sldMk cId="973537515" sldId="334"/>
            <ac:spMk id="18" creationId="{13B0F0BB-F091-44A4-BD79-840627F120E0}"/>
          </ac:spMkLst>
        </pc:spChg>
        <pc:spChg chg="add mod">
          <ac:chgData name="Axelsson Jenny" userId="S::jenny.axelsson@inera.se::35153831-a041-4e19-963c-026d50be729b" providerId="AD" clId="Web-{65B92010-1E86-4F0B-A6FF-0F809DDB34E6}" dt="2020-10-21T14:59:19.695" v="69" actId="20577"/>
          <ac:spMkLst>
            <pc:docMk/>
            <pc:sldMk cId="973537515" sldId="334"/>
            <ac:spMk id="19" creationId="{9EB3CFE1-F39D-446E-B115-CC061C531BAC}"/>
          </ac:spMkLst>
        </pc:spChg>
        <pc:spChg chg="add mod">
          <ac:chgData name="Axelsson Jenny" userId="S::jenny.axelsson@inera.se::35153831-a041-4e19-963c-026d50be729b" providerId="AD" clId="Web-{65B92010-1E86-4F0B-A6FF-0F809DDB34E6}" dt="2020-10-21T14:56:03.974" v="40"/>
          <ac:spMkLst>
            <pc:docMk/>
            <pc:sldMk cId="973537515" sldId="334"/>
            <ac:spMk id="21" creationId="{26FE609C-1F2B-4DE5-9E47-029DA1449C78}"/>
          </ac:spMkLst>
        </pc:spChg>
        <pc:picChg chg="add del mod ord modCrop">
          <ac:chgData name="Axelsson Jenny" userId="S::jenny.axelsson@inera.se::35153831-a041-4e19-963c-026d50be729b" providerId="AD" clId="Web-{65B92010-1E86-4F0B-A6FF-0F809DDB34E6}" dt="2020-10-21T14:54:51.239" v="30"/>
          <ac:picMkLst>
            <pc:docMk/>
            <pc:sldMk cId="973537515" sldId="334"/>
            <ac:picMk id="8" creationId="{1F27CC81-D5B5-4433-BBD1-A77A9A6D11E9}"/>
          </ac:picMkLst>
        </pc:picChg>
        <pc:picChg chg="add del mod ord modCrop">
          <ac:chgData name="Axelsson Jenny" userId="S::jenny.axelsson@inera.se::35153831-a041-4e19-963c-026d50be729b" providerId="AD" clId="Web-{65B92010-1E86-4F0B-A6FF-0F809DDB34E6}" dt="2020-10-21T14:55:13.739" v="34"/>
          <ac:picMkLst>
            <pc:docMk/>
            <pc:sldMk cId="973537515" sldId="334"/>
            <ac:picMk id="11" creationId="{D3546FD4-83D0-4998-BE41-6D74E7ECACFA}"/>
          </ac:picMkLst>
        </pc:picChg>
        <pc:picChg chg="add del mod ord modCrop">
          <ac:chgData name="Axelsson Jenny" userId="S::jenny.axelsson@inera.se::35153831-a041-4e19-963c-026d50be729b" providerId="AD" clId="Web-{65B92010-1E86-4F0B-A6FF-0F809DDB34E6}" dt="2020-10-21T14:56:53.381" v="47"/>
          <ac:picMkLst>
            <pc:docMk/>
            <pc:sldMk cId="973537515" sldId="334"/>
            <ac:picMk id="14" creationId="{AC5CC463-1449-40FB-A03F-C39ADB06383B}"/>
          </ac:picMkLst>
        </pc:picChg>
        <pc:picChg chg="add mod ord">
          <ac:chgData name="Axelsson Jenny" userId="S::jenny.axelsson@inera.se::35153831-a041-4e19-963c-026d50be729b" providerId="AD" clId="Web-{65B92010-1E86-4F0B-A6FF-0F809DDB34E6}" dt="2020-10-21T14:59:20.398" v="70" actId="1076"/>
          <ac:picMkLst>
            <pc:docMk/>
            <pc:sldMk cId="973537515" sldId="334"/>
            <ac:picMk id="17" creationId="{692F7A28-DBE0-4D13-AC36-4011C28BD052}"/>
          </ac:picMkLst>
        </pc:picChg>
      </pc:sldChg>
      <pc:sldChg chg="addSp delSp modSp new del mod modClrScheme chgLayout">
        <pc:chgData name="Axelsson Jenny" userId="S::jenny.axelsson@inera.se::35153831-a041-4e19-963c-026d50be729b" providerId="AD" clId="Web-{65B92010-1E86-4F0B-A6FF-0F809DDB34E6}" dt="2020-10-21T14:53:59.347" v="17"/>
        <pc:sldMkLst>
          <pc:docMk/>
          <pc:sldMk cId="2951060580" sldId="334"/>
        </pc:sldMkLst>
        <pc:spChg chg="del mod ord">
          <ac:chgData name="Axelsson Jenny" userId="S::jenny.axelsson@inera.se::35153831-a041-4e19-963c-026d50be729b" providerId="AD" clId="Web-{65B92010-1E86-4F0B-A6FF-0F809DDB34E6}" dt="2020-10-21T14:52:08.627" v="12"/>
          <ac:spMkLst>
            <pc:docMk/>
            <pc:sldMk cId="2951060580" sldId="334"/>
            <ac:spMk id="2" creationId="{C3C4BCE3-1342-462B-93B3-21656DF1044E}"/>
          </ac:spMkLst>
        </pc:spChg>
        <pc:spChg chg="mod ord">
          <ac:chgData name="Axelsson Jenny" userId="S::jenny.axelsson@inera.se::35153831-a041-4e19-963c-026d50be729b" providerId="AD" clId="Web-{65B92010-1E86-4F0B-A6FF-0F809DDB34E6}" dt="2020-10-21T14:51:47.392" v="7"/>
          <ac:spMkLst>
            <pc:docMk/>
            <pc:sldMk cId="2951060580" sldId="334"/>
            <ac:spMk id="3" creationId="{A2D99BC2-E73F-47EE-B3C6-11E817E512A1}"/>
          </ac:spMkLst>
        </pc:spChg>
        <pc:spChg chg="del mod ord">
          <ac:chgData name="Axelsson Jenny" userId="S::jenny.axelsson@inera.se::35153831-a041-4e19-963c-026d50be729b" providerId="AD" clId="Web-{65B92010-1E86-4F0B-A6FF-0F809DDB34E6}" dt="2020-10-21T14:51:49.955" v="8"/>
          <ac:spMkLst>
            <pc:docMk/>
            <pc:sldMk cId="2951060580" sldId="334"/>
            <ac:spMk id="4" creationId="{A1549644-77EB-40CD-89DF-7D58202D1EC0}"/>
          </ac:spMkLst>
        </pc:spChg>
        <pc:picChg chg="add mod ord modCrop">
          <ac:chgData name="Axelsson Jenny" userId="S::jenny.axelsson@inera.se::35153831-a041-4e19-963c-026d50be729b" providerId="AD" clId="Web-{65B92010-1E86-4F0B-A6FF-0F809DDB34E6}" dt="2020-10-21T14:52:08.627" v="12"/>
          <ac:picMkLst>
            <pc:docMk/>
            <pc:sldMk cId="2951060580" sldId="334"/>
            <ac:picMk id="5" creationId="{2A6D29DE-2AA0-4EE9-9C05-1CD60BE40623}"/>
          </ac:picMkLst>
        </pc:picChg>
      </pc:sldChg>
    </pc:docChg>
  </pc:docChgLst>
  <pc:docChgLst>
    <pc:chgData name="Axelsson Jenny" userId="S::jenny.axelsson@inera.se::35153831-a041-4e19-963c-026d50be729b" providerId="AD" clId="Web-{62FA78ED-37DD-4255-8E59-14C36FA35018}"/>
    <pc:docChg chg="modSld">
      <pc:chgData name="Axelsson Jenny" userId="S::jenny.axelsson@inera.se::35153831-a041-4e19-963c-026d50be729b" providerId="AD" clId="Web-{62FA78ED-37DD-4255-8E59-14C36FA35018}" dt="2020-10-21T15:03:25.944" v="0" actId="20577"/>
      <pc:docMkLst>
        <pc:docMk/>
      </pc:docMkLst>
      <pc:sldChg chg="modSp">
        <pc:chgData name="Axelsson Jenny" userId="S::jenny.axelsson@inera.se::35153831-a041-4e19-963c-026d50be729b" providerId="AD" clId="Web-{62FA78ED-37DD-4255-8E59-14C36FA35018}" dt="2020-10-21T15:03:25.944" v="0" actId="20577"/>
        <pc:sldMkLst>
          <pc:docMk/>
          <pc:sldMk cId="4194386535" sldId="329"/>
        </pc:sldMkLst>
        <pc:spChg chg="mod">
          <ac:chgData name="Axelsson Jenny" userId="S::jenny.axelsson@inera.se::35153831-a041-4e19-963c-026d50be729b" providerId="AD" clId="Web-{62FA78ED-37DD-4255-8E59-14C36FA35018}" dt="2020-10-21T15:03:25.944" v="0" actId="20577"/>
          <ac:spMkLst>
            <pc:docMk/>
            <pc:sldMk cId="4194386535" sldId="329"/>
            <ac:spMk id="20" creationId="{68875D57-91FC-4FD3-B862-EF4DEE85558D}"/>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023D13-F35E-4529-B3F7-0633FF5C8FD7}" type="datetimeFigureOut">
              <a:rPr lang="sv-SE" smtClean="0"/>
              <a:t>2020-10-28</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DEDCF4-EC53-45ED-9657-3068B2115E42}" type="slidenum">
              <a:rPr lang="sv-SE" smtClean="0"/>
              <a:t>‹#›</a:t>
            </a:fld>
            <a:endParaRPr lang="sv-SE"/>
          </a:p>
        </p:txBody>
      </p:sp>
    </p:spTree>
    <p:extLst>
      <p:ext uri="{BB962C8B-B14F-4D97-AF65-F5344CB8AC3E}">
        <p14:creationId xmlns:p14="http://schemas.microsoft.com/office/powerpoint/2010/main" val="20487823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Startsida utan bild ROSA">
    <p:spTree>
      <p:nvGrpSpPr>
        <p:cNvPr id="1" name=""/>
        <p:cNvGrpSpPr/>
        <p:nvPr/>
      </p:nvGrpSpPr>
      <p:grpSpPr>
        <a:xfrm>
          <a:off x="0" y="0"/>
          <a:ext cx="0" cy="0"/>
          <a:chOff x="0" y="0"/>
          <a:chExt cx="0" cy="0"/>
        </a:xfrm>
      </p:grpSpPr>
      <p:sp>
        <p:nvSpPr>
          <p:cNvPr id="18" name="Rektangel 17">
            <a:extLst>
              <a:ext uri="{FF2B5EF4-FFF2-40B4-BE49-F238E27FC236}">
                <a16:creationId xmlns:a16="http://schemas.microsoft.com/office/drawing/2014/main" id="{F6D261CD-7475-462D-96A6-570AC61F5569}"/>
              </a:ext>
            </a:extLst>
          </p:cNvPr>
          <p:cNvSpPr/>
          <p:nvPr userDrawn="1"/>
        </p:nvSpPr>
        <p:spPr>
          <a:xfrm>
            <a:off x="0" y="0"/>
            <a:ext cx="12192000" cy="564405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0" name="Bildobjekt 9">
            <a:extLst>
              <a:ext uri="{FF2B5EF4-FFF2-40B4-BE49-F238E27FC236}">
                <a16:creationId xmlns:a16="http://schemas.microsoft.com/office/drawing/2014/main" id="{0C5D4EC2-9FA8-4FE8-96F7-29DCCDEDDB4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678728"/>
            <a:ext cx="12202510" cy="2200292"/>
          </a:xfrm>
          <a:prstGeom prst="rect">
            <a:avLst/>
          </a:prstGeom>
        </p:spPr>
      </p:pic>
      <p:sp>
        <p:nvSpPr>
          <p:cNvPr id="2" name="Rubrik 1">
            <a:extLst>
              <a:ext uri="{FF2B5EF4-FFF2-40B4-BE49-F238E27FC236}">
                <a16:creationId xmlns:a16="http://schemas.microsoft.com/office/drawing/2014/main" id="{C4679F00-E121-4F6A-8D29-D9E7E550A99B}"/>
              </a:ext>
            </a:extLst>
          </p:cNvPr>
          <p:cNvSpPr>
            <a:spLocks noGrp="1"/>
          </p:cNvSpPr>
          <p:nvPr>
            <p:ph type="ctrTitle" hasCustomPrompt="1"/>
          </p:nvPr>
        </p:nvSpPr>
        <p:spPr>
          <a:xfrm>
            <a:off x="1524000" y="1952672"/>
            <a:ext cx="9144000" cy="2387600"/>
          </a:xfrm>
        </p:spPr>
        <p:txBody>
          <a:bodyPr anchor="t"/>
          <a:lstStyle>
            <a:lvl1pPr algn="ctr">
              <a:defRPr sz="5400"/>
            </a:lvl1pPr>
          </a:lstStyle>
          <a:p>
            <a:r>
              <a:rPr lang="sv-SE"/>
              <a:t>En rubrik kommer</a:t>
            </a:r>
            <a:br>
              <a:rPr lang="sv-SE"/>
            </a:br>
            <a:r>
              <a:rPr lang="sv-SE"/>
              <a:t>att stå här och kan</a:t>
            </a:r>
            <a:br>
              <a:rPr lang="sv-SE"/>
            </a:br>
            <a:r>
              <a:rPr lang="sv-SE"/>
              <a:t>vara på tre rader</a:t>
            </a:r>
          </a:p>
        </p:txBody>
      </p:sp>
      <p:sp>
        <p:nvSpPr>
          <p:cNvPr id="3" name="Underrubrik 2">
            <a:extLst>
              <a:ext uri="{FF2B5EF4-FFF2-40B4-BE49-F238E27FC236}">
                <a16:creationId xmlns:a16="http://schemas.microsoft.com/office/drawing/2014/main" id="{F9F3B956-728F-4271-9E5F-A466177507C6}"/>
              </a:ext>
            </a:extLst>
          </p:cNvPr>
          <p:cNvSpPr>
            <a:spLocks noGrp="1"/>
          </p:cNvSpPr>
          <p:nvPr>
            <p:ph type="subTitle" idx="1" hasCustomPrompt="1"/>
          </p:nvPr>
        </p:nvSpPr>
        <p:spPr>
          <a:xfrm>
            <a:off x="1524000" y="1176772"/>
            <a:ext cx="9144000" cy="410286"/>
          </a:xfrm>
        </p:spPr>
        <p:txBody>
          <a:bodyPr anchor="b"/>
          <a:lstStyle>
            <a:lvl1pPr marL="0" indent="0" algn="ctr">
              <a:buNone/>
              <a:defRPr sz="1400" b="1" cap="all"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11" name="Bildobjekt 10">
            <a:extLst>
              <a:ext uri="{FF2B5EF4-FFF2-40B4-BE49-F238E27FC236}">
                <a16:creationId xmlns:a16="http://schemas.microsoft.com/office/drawing/2014/main" id="{0D46721D-F352-4C9F-8260-E5322AB478C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224800" y="5685098"/>
            <a:ext cx="1752911" cy="711240"/>
          </a:xfrm>
          <a:prstGeom prst="rect">
            <a:avLst/>
          </a:prstGeom>
        </p:spPr>
      </p:pic>
      <p:sp>
        <p:nvSpPr>
          <p:cNvPr id="9" name="Rektangel 8">
            <a:extLst>
              <a:ext uri="{FF2B5EF4-FFF2-40B4-BE49-F238E27FC236}">
                <a16:creationId xmlns:a16="http://schemas.microsoft.com/office/drawing/2014/main" id="{25C65CF8-0829-4AB6-891A-190544AC3286}"/>
              </a:ext>
            </a:extLst>
          </p:cNvPr>
          <p:cNvSpPr/>
          <p:nvPr userDrawn="1"/>
        </p:nvSpPr>
        <p:spPr>
          <a:xfrm>
            <a:off x="-2575249" y="841599"/>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2" name="Bildobjekt 11">
            <a:extLst>
              <a:ext uri="{FF2B5EF4-FFF2-40B4-BE49-F238E27FC236}">
                <a16:creationId xmlns:a16="http://schemas.microsoft.com/office/drawing/2014/main" id="{EBE118A1-F797-4EAF-B63F-697D3863BC3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940767" y="1808804"/>
            <a:ext cx="1685925" cy="628650"/>
          </a:xfrm>
          <a:prstGeom prst="rect">
            <a:avLst/>
          </a:prstGeom>
        </p:spPr>
      </p:pic>
    </p:spTree>
    <p:extLst>
      <p:ext uri="{BB962C8B-B14F-4D97-AF65-F5344CB8AC3E}">
        <p14:creationId xmlns:p14="http://schemas.microsoft.com/office/powerpoint/2010/main" val="2228013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andardsida bild vänste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p:txBody>
          <a:bodyPr/>
          <a:lstStyle>
            <a:lvl1pPr>
              <a:defRPr/>
            </a:lvl1pPr>
          </a:lstStyle>
          <a:p>
            <a:r>
              <a:rPr lang="sv-SE">
                <a:solidFill>
                  <a:schemeClr val="accent1"/>
                </a:solidFill>
              </a:rPr>
              <a:t>Rubrik</a:t>
            </a:r>
            <a:r>
              <a:rPr lang="sv-SE"/>
              <a:t> på en rad</a:t>
            </a:r>
          </a:p>
        </p:txBody>
      </p:sp>
      <p:sp>
        <p:nvSpPr>
          <p:cNvPr id="3" name="Platshållare för innehåll 2">
            <a:extLst>
              <a:ext uri="{FF2B5EF4-FFF2-40B4-BE49-F238E27FC236}">
                <a16:creationId xmlns:a16="http://schemas.microsoft.com/office/drawing/2014/main" id="{C591B10F-9AE3-44F1-83B7-0D36638C58B2}"/>
              </a:ext>
            </a:extLst>
          </p:cNvPr>
          <p:cNvSpPr>
            <a:spLocks noGrp="1"/>
          </p:cNvSpPr>
          <p:nvPr>
            <p:ph idx="1"/>
          </p:nvPr>
        </p:nvSpPr>
        <p:spPr>
          <a:xfrm>
            <a:off x="5423338" y="1693273"/>
            <a:ext cx="5958536" cy="356452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sidfot 4">
            <a:extLst>
              <a:ext uri="{FF2B5EF4-FFF2-40B4-BE49-F238E27FC236}">
                <a16:creationId xmlns:a16="http://schemas.microsoft.com/office/drawing/2014/main" id="{7C8D24B6-D2A2-49C9-BA42-DB7B32029E04}"/>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77E05EC-B5C7-4E5C-99AF-DAA72183B66D}"/>
              </a:ext>
            </a:extLst>
          </p:cNvPr>
          <p:cNvSpPr>
            <a:spLocks noGrp="1"/>
          </p:cNvSpPr>
          <p:nvPr>
            <p:ph type="sldNum" sz="quarter" idx="12"/>
          </p:nvPr>
        </p:nvSpPr>
        <p:spPr/>
        <p:txBody>
          <a:bodyPr/>
          <a:lstStyle/>
          <a:p>
            <a:fld id="{7FF155A8-5C6D-4241-95DF-81E4F2B16EE5}" type="slidenum">
              <a:rPr lang="sv-SE" smtClean="0"/>
              <a:t>‹#›</a:t>
            </a:fld>
            <a:endParaRPr lang="sv-SE"/>
          </a:p>
        </p:txBody>
      </p:sp>
      <p:sp>
        <p:nvSpPr>
          <p:cNvPr id="10" name="Platshållare för bild 9">
            <a:extLst>
              <a:ext uri="{FF2B5EF4-FFF2-40B4-BE49-F238E27FC236}">
                <a16:creationId xmlns:a16="http://schemas.microsoft.com/office/drawing/2014/main" id="{E79EAE5D-FEC0-4EF7-BBA5-3270B4215AD3}"/>
              </a:ext>
            </a:extLst>
          </p:cNvPr>
          <p:cNvSpPr>
            <a:spLocks noGrp="1"/>
          </p:cNvSpPr>
          <p:nvPr>
            <p:ph type="pic" sz="quarter" idx="13"/>
          </p:nvPr>
        </p:nvSpPr>
        <p:spPr>
          <a:xfrm>
            <a:off x="935038" y="1619250"/>
            <a:ext cx="4110037" cy="3709988"/>
          </a:xfrm>
          <a:prstGeom prst="roundRect">
            <a:avLst>
              <a:gd name="adj" fmla="val 1369"/>
            </a:avLst>
          </a:prstGeom>
          <a:noFill/>
        </p:spPr>
        <p:txBody>
          <a:bodyPr tIns="576000"/>
          <a:lstStyle>
            <a:lvl1pPr marL="0" indent="0" algn="ctr">
              <a:buNone/>
              <a:defRPr/>
            </a:lvl1pPr>
          </a:lstStyle>
          <a:p>
            <a:r>
              <a:rPr lang="sv-SE"/>
              <a:t>Klicka på ikonen för att lägga till en bild</a:t>
            </a:r>
          </a:p>
        </p:txBody>
      </p:sp>
    </p:spTree>
    <p:extLst>
      <p:ext uri="{BB962C8B-B14F-4D97-AF65-F5344CB8AC3E}">
        <p14:creationId xmlns:p14="http://schemas.microsoft.com/office/powerpoint/2010/main" val="57955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andardsida bild höge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74296" y="84221"/>
            <a:ext cx="10567736" cy="1149264"/>
          </a:xfrm>
        </p:spPr>
        <p:txBody>
          <a:bodyPr/>
          <a:lstStyle>
            <a:lvl1pPr>
              <a:defRPr/>
            </a:lvl1pPr>
          </a:lstStyle>
          <a:p>
            <a:r>
              <a:rPr lang="sv-SE">
                <a:solidFill>
                  <a:schemeClr val="accent1"/>
                </a:solidFill>
              </a:rPr>
              <a:t>Rubrik</a:t>
            </a:r>
            <a:r>
              <a:rPr lang="sv-SE"/>
              <a:t> på en rad</a:t>
            </a:r>
          </a:p>
        </p:txBody>
      </p:sp>
      <p:sp>
        <p:nvSpPr>
          <p:cNvPr id="3" name="Platshållare för innehåll 2">
            <a:extLst>
              <a:ext uri="{FF2B5EF4-FFF2-40B4-BE49-F238E27FC236}">
                <a16:creationId xmlns:a16="http://schemas.microsoft.com/office/drawing/2014/main" id="{C591B10F-9AE3-44F1-83B7-0D36638C58B2}"/>
              </a:ext>
            </a:extLst>
          </p:cNvPr>
          <p:cNvSpPr>
            <a:spLocks noGrp="1"/>
          </p:cNvSpPr>
          <p:nvPr>
            <p:ph idx="1"/>
          </p:nvPr>
        </p:nvSpPr>
        <p:spPr>
          <a:xfrm>
            <a:off x="922424" y="1693273"/>
            <a:ext cx="5919810" cy="356452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sidfot 4">
            <a:extLst>
              <a:ext uri="{FF2B5EF4-FFF2-40B4-BE49-F238E27FC236}">
                <a16:creationId xmlns:a16="http://schemas.microsoft.com/office/drawing/2014/main" id="{7C8D24B6-D2A2-49C9-BA42-DB7B32029E04}"/>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77E05EC-B5C7-4E5C-99AF-DAA72183B66D}"/>
              </a:ext>
            </a:extLst>
          </p:cNvPr>
          <p:cNvSpPr>
            <a:spLocks noGrp="1"/>
          </p:cNvSpPr>
          <p:nvPr>
            <p:ph type="sldNum" sz="quarter" idx="12"/>
          </p:nvPr>
        </p:nvSpPr>
        <p:spPr/>
        <p:txBody>
          <a:bodyPr/>
          <a:lstStyle/>
          <a:p>
            <a:fld id="{7FF155A8-5C6D-4241-95DF-81E4F2B16EE5}" type="slidenum">
              <a:rPr lang="sv-SE" smtClean="0"/>
              <a:t>‹#›</a:t>
            </a:fld>
            <a:endParaRPr lang="sv-SE"/>
          </a:p>
        </p:txBody>
      </p:sp>
      <p:sp>
        <p:nvSpPr>
          <p:cNvPr id="7" name="Platshållare för bild 9">
            <a:extLst>
              <a:ext uri="{FF2B5EF4-FFF2-40B4-BE49-F238E27FC236}">
                <a16:creationId xmlns:a16="http://schemas.microsoft.com/office/drawing/2014/main" id="{DCD0C5FE-126D-416C-9A5B-02C9EAD42FBB}"/>
              </a:ext>
            </a:extLst>
          </p:cNvPr>
          <p:cNvSpPr>
            <a:spLocks noGrp="1"/>
          </p:cNvSpPr>
          <p:nvPr>
            <p:ph type="pic" sz="quarter" idx="13"/>
          </p:nvPr>
        </p:nvSpPr>
        <p:spPr>
          <a:xfrm>
            <a:off x="7346348" y="1619250"/>
            <a:ext cx="4110037" cy="3709988"/>
          </a:xfrm>
          <a:prstGeom prst="roundRect">
            <a:avLst>
              <a:gd name="adj" fmla="val 1369"/>
            </a:avLst>
          </a:prstGeom>
          <a:noFill/>
        </p:spPr>
        <p:txBody>
          <a:bodyPr tIns="576000"/>
          <a:lstStyle>
            <a:lvl1pPr marL="0" indent="0" algn="ctr">
              <a:buNone/>
              <a:defRPr/>
            </a:lvl1pPr>
          </a:lstStyle>
          <a:p>
            <a:r>
              <a:rPr lang="sv-SE"/>
              <a:t>Klicka på ikonen för att lägga till en bild</a:t>
            </a:r>
          </a:p>
        </p:txBody>
      </p:sp>
    </p:spTree>
    <p:extLst>
      <p:ext uri="{BB962C8B-B14F-4D97-AF65-F5344CB8AC3E}">
        <p14:creationId xmlns:p14="http://schemas.microsoft.com/office/powerpoint/2010/main" val="4197912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lutsida">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8D5545B1-EC61-4586-B3F7-6354B25D50F5}"/>
              </a:ext>
            </a:extLst>
          </p:cNvPr>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8" name="Bildobjekt 7">
            <a:extLst>
              <a:ext uri="{FF2B5EF4-FFF2-40B4-BE49-F238E27FC236}">
                <a16:creationId xmlns:a16="http://schemas.microsoft.com/office/drawing/2014/main" id="{3DDFEC98-4970-485D-A1F1-BBD55667B1E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417216" y="2392723"/>
            <a:ext cx="3357569" cy="1362328"/>
          </a:xfrm>
          <a:prstGeom prst="rect">
            <a:avLst/>
          </a:prstGeom>
        </p:spPr>
      </p:pic>
    </p:spTree>
    <p:extLst>
      <p:ext uri="{BB962C8B-B14F-4D97-AF65-F5344CB8AC3E}">
        <p14:creationId xmlns:p14="http://schemas.microsoft.com/office/powerpoint/2010/main" val="1389849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39402CD-6991-4956-97B9-E3910AAB45AF}"/>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64928556-41DC-4E7D-B277-65FF65098483}"/>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9B2DCD5D-84F3-4333-9600-FAF6E5BA3931}"/>
              </a:ext>
            </a:extLst>
          </p:cNvPr>
          <p:cNvSpPr>
            <a:spLocks noGrp="1"/>
          </p:cNvSpPr>
          <p:nvPr>
            <p:ph type="dt" sz="half" idx="10"/>
          </p:nvPr>
        </p:nvSpPr>
        <p:spPr/>
        <p:txBody>
          <a:bodyPr/>
          <a:lstStyle/>
          <a:p>
            <a:fld id="{28F1A163-B24D-46EA-873E-74E7789AD673}" type="datetimeFigureOut">
              <a:rPr lang="sv-SE" smtClean="0"/>
              <a:t>2020-10-28</a:t>
            </a:fld>
            <a:endParaRPr lang="sv-SE"/>
          </a:p>
        </p:txBody>
      </p:sp>
      <p:sp>
        <p:nvSpPr>
          <p:cNvPr id="5" name="Platshållare för sidfot 4">
            <a:extLst>
              <a:ext uri="{FF2B5EF4-FFF2-40B4-BE49-F238E27FC236}">
                <a16:creationId xmlns:a16="http://schemas.microsoft.com/office/drawing/2014/main" id="{093736BC-98B2-4BCE-A2E9-183F5B48C95B}"/>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341D28AC-A24D-4524-BA21-B7D614B947C7}"/>
              </a:ext>
            </a:extLst>
          </p:cNvPr>
          <p:cNvSpPr>
            <a:spLocks noGrp="1"/>
          </p:cNvSpPr>
          <p:nvPr>
            <p:ph type="sldNum" sz="quarter" idx="12"/>
          </p:nvPr>
        </p:nvSpPr>
        <p:spPr/>
        <p:txBody>
          <a:bodyPr/>
          <a:lstStyle/>
          <a:p>
            <a:fld id="{D1B389D8-6223-4B1D-82AB-19C377706A8C}" type="slidenum">
              <a:rPr lang="sv-SE" smtClean="0"/>
              <a:t>‹#›</a:t>
            </a:fld>
            <a:endParaRPr lang="sv-SE"/>
          </a:p>
        </p:txBody>
      </p:sp>
    </p:spTree>
    <p:extLst>
      <p:ext uri="{BB962C8B-B14F-4D97-AF65-F5344CB8AC3E}">
        <p14:creationId xmlns:p14="http://schemas.microsoft.com/office/powerpoint/2010/main" val="3206088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Startsida utan bild VIT">
    <p:spTree>
      <p:nvGrpSpPr>
        <p:cNvPr id="1" name=""/>
        <p:cNvGrpSpPr/>
        <p:nvPr/>
      </p:nvGrpSpPr>
      <p:grpSpPr>
        <a:xfrm>
          <a:off x="0" y="0"/>
          <a:ext cx="0" cy="0"/>
          <a:chOff x="0" y="0"/>
          <a:chExt cx="0" cy="0"/>
        </a:xfrm>
      </p:grpSpPr>
      <p:pic>
        <p:nvPicPr>
          <p:cNvPr id="10" name="Bildobjekt 9">
            <a:extLst>
              <a:ext uri="{FF2B5EF4-FFF2-40B4-BE49-F238E27FC236}">
                <a16:creationId xmlns:a16="http://schemas.microsoft.com/office/drawing/2014/main" id="{0C5D4EC2-9FA8-4FE8-96F7-29DCCDEDDB4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678728"/>
            <a:ext cx="12202510" cy="2200292"/>
          </a:xfrm>
          <a:prstGeom prst="rect">
            <a:avLst/>
          </a:prstGeom>
        </p:spPr>
      </p:pic>
      <p:sp>
        <p:nvSpPr>
          <p:cNvPr id="2" name="Rubrik 1">
            <a:extLst>
              <a:ext uri="{FF2B5EF4-FFF2-40B4-BE49-F238E27FC236}">
                <a16:creationId xmlns:a16="http://schemas.microsoft.com/office/drawing/2014/main" id="{C4679F00-E121-4F6A-8D29-D9E7E550A99B}"/>
              </a:ext>
            </a:extLst>
          </p:cNvPr>
          <p:cNvSpPr>
            <a:spLocks noGrp="1"/>
          </p:cNvSpPr>
          <p:nvPr>
            <p:ph type="ctrTitle" hasCustomPrompt="1"/>
          </p:nvPr>
        </p:nvSpPr>
        <p:spPr>
          <a:xfrm>
            <a:off x="1524000" y="1952672"/>
            <a:ext cx="9144000" cy="2387600"/>
          </a:xfrm>
        </p:spPr>
        <p:txBody>
          <a:bodyPr anchor="t"/>
          <a:lstStyle>
            <a:lvl1pPr algn="ctr">
              <a:defRPr sz="5400"/>
            </a:lvl1pPr>
          </a:lstStyle>
          <a:p>
            <a:r>
              <a:rPr lang="sv-SE"/>
              <a:t>En rubrik kommer</a:t>
            </a:r>
            <a:br>
              <a:rPr lang="sv-SE"/>
            </a:br>
            <a:r>
              <a:rPr lang="sv-SE"/>
              <a:t>att stå här och kan</a:t>
            </a:r>
            <a:br>
              <a:rPr lang="sv-SE"/>
            </a:br>
            <a:r>
              <a:rPr lang="sv-SE"/>
              <a:t>vara på tre rader</a:t>
            </a:r>
          </a:p>
        </p:txBody>
      </p:sp>
      <p:sp>
        <p:nvSpPr>
          <p:cNvPr id="3" name="Underrubrik 2">
            <a:extLst>
              <a:ext uri="{FF2B5EF4-FFF2-40B4-BE49-F238E27FC236}">
                <a16:creationId xmlns:a16="http://schemas.microsoft.com/office/drawing/2014/main" id="{F9F3B956-728F-4271-9E5F-A466177507C6}"/>
              </a:ext>
            </a:extLst>
          </p:cNvPr>
          <p:cNvSpPr>
            <a:spLocks noGrp="1"/>
          </p:cNvSpPr>
          <p:nvPr>
            <p:ph type="subTitle" idx="1" hasCustomPrompt="1"/>
          </p:nvPr>
        </p:nvSpPr>
        <p:spPr>
          <a:xfrm>
            <a:off x="1524000" y="1176772"/>
            <a:ext cx="9144000" cy="410286"/>
          </a:xfrm>
        </p:spPr>
        <p:txBody>
          <a:bodyPr anchor="b"/>
          <a:lstStyle>
            <a:lvl1pPr marL="0" indent="0" algn="ctr">
              <a:buNone/>
              <a:defRPr sz="1400" b="1" cap="all" baseline="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11" name="Bildobjekt 10">
            <a:extLst>
              <a:ext uri="{FF2B5EF4-FFF2-40B4-BE49-F238E27FC236}">
                <a16:creationId xmlns:a16="http://schemas.microsoft.com/office/drawing/2014/main" id="{0D46721D-F352-4C9F-8260-E5322AB478C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224800" y="5685098"/>
            <a:ext cx="1752911" cy="711240"/>
          </a:xfrm>
          <a:prstGeom prst="rect">
            <a:avLst/>
          </a:prstGeom>
        </p:spPr>
      </p:pic>
      <p:sp>
        <p:nvSpPr>
          <p:cNvPr id="9" name="Rektangel 8">
            <a:extLst>
              <a:ext uri="{FF2B5EF4-FFF2-40B4-BE49-F238E27FC236}">
                <a16:creationId xmlns:a16="http://schemas.microsoft.com/office/drawing/2014/main" id="{25C65CF8-0829-4AB6-891A-190544AC3286}"/>
              </a:ext>
            </a:extLst>
          </p:cNvPr>
          <p:cNvSpPr/>
          <p:nvPr userDrawn="1"/>
        </p:nvSpPr>
        <p:spPr>
          <a:xfrm>
            <a:off x="-2575249" y="841599"/>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2" name="Bildobjekt 11">
            <a:extLst>
              <a:ext uri="{FF2B5EF4-FFF2-40B4-BE49-F238E27FC236}">
                <a16:creationId xmlns:a16="http://schemas.microsoft.com/office/drawing/2014/main" id="{EBE118A1-F797-4EAF-B63F-697D3863BC3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940767" y="1808804"/>
            <a:ext cx="1685925" cy="628650"/>
          </a:xfrm>
          <a:prstGeom prst="rect">
            <a:avLst/>
          </a:prstGeom>
        </p:spPr>
      </p:pic>
    </p:spTree>
    <p:extLst>
      <p:ext uri="{BB962C8B-B14F-4D97-AF65-F5344CB8AC3E}">
        <p14:creationId xmlns:p14="http://schemas.microsoft.com/office/powerpoint/2010/main" val="516649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tartsida med bild ROSA">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198FF978-7AC6-4A7A-943A-D6BAC9303385}"/>
              </a:ext>
            </a:extLst>
          </p:cNvPr>
          <p:cNvSpPr/>
          <p:nvPr userDrawn="1"/>
        </p:nvSpPr>
        <p:spPr>
          <a:xfrm>
            <a:off x="0" y="612997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Platshållare för bild 6">
            <a:extLst>
              <a:ext uri="{FF2B5EF4-FFF2-40B4-BE49-F238E27FC236}">
                <a16:creationId xmlns:a16="http://schemas.microsoft.com/office/drawing/2014/main" id="{733B926C-A7EB-4393-AE91-4468A5CB554A}"/>
              </a:ext>
            </a:extLst>
          </p:cNvPr>
          <p:cNvSpPr>
            <a:spLocks noGrp="1"/>
          </p:cNvSpPr>
          <p:nvPr>
            <p:ph type="pic" sz="quarter" idx="13"/>
          </p:nvPr>
        </p:nvSpPr>
        <p:spPr>
          <a:xfrm>
            <a:off x="-10510" y="0"/>
            <a:ext cx="12202510" cy="4781496"/>
          </a:xfrm>
          <a:custGeom>
            <a:avLst/>
            <a:gdLst>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18234"/>
              <a:gd name="connsiteX1" fmla="*/ 12192000 w 12192000"/>
              <a:gd name="connsiteY1" fmla="*/ 0 h 5318234"/>
              <a:gd name="connsiteX2" fmla="*/ 12192000 w 12192000"/>
              <a:gd name="connsiteY2" fmla="*/ 5307013 h 5318234"/>
              <a:gd name="connsiteX3" fmla="*/ 6243145 w 12192000"/>
              <a:gd name="connsiteY3" fmla="*/ 5318234 h 5318234"/>
              <a:gd name="connsiteX4" fmla="*/ 0 w 12192000"/>
              <a:gd name="connsiteY4" fmla="*/ 5307013 h 5318234"/>
              <a:gd name="connsiteX5" fmla="*/ 0 w 12192000"/>
              <a:gd name="connsiteY5" fmla="*/ 0 h 5318234"/>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21021 w 12192000"/>
              <a:gd name="connsiteY3" fmla="*/ 468690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21021 w 12192000"/>
              <a:gd name="connsiteY3" fmla="*/ 4686903 h 5307013"/>
              <a:gd name="connsiteX4" fmla="*/ 0 w 12192000"/>
              <a:gd name="connsiteY4" fmla="*/ 0 h 5307013"/>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10510 w 12202510"/>
              <a:gd name="connsiteY0" fmla="*/ 0 h 4781496"/>
              <a:gd name="connsiteX1" fmla="*/ 12202510 w 12202510"/>
              <a:gd name="connsiteY1" fmla="*/ 0 h 4781496"/>
              <a:gd name="connsiteX2" fmla="*/ 12202510 w 12202510"/>
              <a:gd name="connsiteY2" fmla="*/ 4781496 h 4781496"/>
              <a:gd name="connsiteX3" fmla="*/ 0 w 12202510"/>
              <a:gd name="connsiteY3" fmla="*/ 4686903 h 4781496"/>
              <a:gd name="connsiteX4" fmla="*/ 10510 w 12202510"/>
              <a:gd name="connsiteY4" fmla="*/ 0 h 478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2510" h="4781496">
                <a:moveTo>
                  <a:pt x="10510" y="0"/>
                </a:moveTo>
                <a:lnTo>
                  <a:pt x="12202510" y="0"/>
                </a:lnTo>
                <a:lnTo>
                  <a:pt x="12202510" y="4781496"/>
                </a:lnTo>
                <a:cubicBezTo>
                  <a:pt x="10755586" y="4140365"/>
                  <a:pt x="5598509" y="2490241"/>
                  <a:pt x="0" y="4686903"/>
                </a:cubicBezTo>
                <a:cubicBezTo>
                  <a:pt x="3503" y="3124602"/>
                  <a:pt x="7007" y="1562301"/>
                  <a:pt x="10510" y="0"/>
                </a:cubicBezTo>
                <a:close/>
              </a:path>
            </a:pathLst>
          </a:custGeom>
          <a:solidFill>
            <a:schemeClr val="accent3"/>
          </a:solidFill>
        </p:spPr>
        <p:txBody>
          <a:bodyPr tIns="1332000"/>
          <a:lstStyle>
            <a:lvl1pPr marL="0" indent="0" algn="ctr">
              <a:buNone/>
              <a:defRPr/>
            </a:lvl1pPr>
          </a:lstStyle>
          <a:p>
            <a:r>
              <a:rPr lang="sv-SE"/>
              <a:t>Klicka på ikonen för att lägga till en bild</a:t>
            </a:r>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38200" y="4435504"/>
            <a:ext cx="10515600" cy="1149264"/>
          </a:xfrm>
        </p:spPr>
        <p:txBody>
          <a:bodyPr/>
          <a:lstStyle>
            <a:lvl1pPr algn="ctr">
              <a:defRPr sz="4600"/>
            </a:lvl1pPr>
          </a:lstStyle>
          <a:p>
            <a:r>
              <a:rPr lang="sv-SE"/>
              <a:t>En rubrik kommer</a:t>
            </a:r>
            <a:br>
              <a:rPr lang="sv-SE"/>
            </a:br>
            <a:r>
              <a:rPr lang="sv-SE"/>
              <a:t>att stå här och vara på två rader</a:t>
            </a:r>
          </a:p>
        </p:txBody>
      </p:sp>
      <p:sp>
        <p:nvSpPr>
          <p:cNvPr id="10" name="Underrubrik 2">
            <a:extLst>
              <a:ext uri="{FF2B5EF4-FFF2-40B4-BE49-F238E27FC236}">
                <a16:creationId xmlns:a16="http://schemas.microsoft.com/office/drawing/2014/main" id="{A1446BD1-50A4-40FE-9679-6F29CE291357}"/>
              </a:ext>
            </a:extLst>
          </p:cNvPr>
          <p:cNvSpPr>
            <a:spLocks noGrp="1"/>
          </p:cNvSpPr>
          <p:nvPr>
            <p:ph type="subTitle" idx="1" hasCustomPrompt="1"/>
          </p:nvPr>
        </p:nvSpPr>
        <p:spPr>
          <a:xfrm>
            <a:off x="385840" y="6302727"/>
            <a:ext cx="5717628" cy="410286"/>
          </a:xfrm>
        </p:spPr>
        <p:txBody>
          <a:bodyPr anchor="ctr"/>
          <a:lstStyle>
            <a:lvl1pPr marL="0" indent="0" algn="l">
              <a:buNone/>
              <a:defRPr sz="11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9" name="Bildobjekt 8">
            <a:extLst>
              <a:ext uri="{FF2B5EF4-FFF2-40B4-BE49-F238E27FC236}">
                <a16:creationId xmlns:a16="http://schemas.microsoft.com/office/drawing/2014/main" id="{25B9738A-C3E8-4B02-8BAA-0C250B908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sp>
        <p:nvSpPr>
          <p:cNvPr id="13" name="Rektangel 12">
            <a:extLst>
              <a:ext uri="{FF2B5EF4-FFF2-40B4-BE49-F238E27FC236}">
                <a16:creationId xmlns:a16="http://schemas.microsoft.com/office/drawing/2014/main" id="{F6D4D3BE-D90B-473D-BD5E-AE8A9BD8150E}"/>
              </a:ext>
            </a:extLst>
          </p:cNvPr>
          <p:cNvSpPr/>
          <p:nvPr userDrawn="1"/>
        </p:nvSpPr>
        <p:spPr>
          <a:xfrm>
            <a:off x="-2575249" y="4294662"/>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4" name="Bildobjekt 13">
            <a:extLst>
              <a:ext uri="{FF2B5EF4-FFF2-40B4-BE49-F238E27FC236}">
                <a16:creationId xmlns:a16="http://schemas.microsoft.com/office/drawing/2014/main" id="{F559ADBB-AE9C-4433-8521-A9B004D10A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40767" y="5261867"/>
            <a:ext cx="1685925" cy="628650"/>
          </a:xfrm>
          <a:prstGeom prst="rect">
            <a:avLst/>
          </a:prstGeom>
        </p:spPr>
      </p:pic>
    </p:spTree>
    <p:extLst>
      <p:ext uri="{BB962C8B-B14F-4D97-AF65-F5344CB8AC3E}">
        <p14:creationId xmlns:p14="http://schemas.microsoft.com/office/powerpoint/2010/main" val="3085138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tartsida med bild VIT">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198FF978-7AC6-4A7A-943A-D6BAC9303385}"/>
              </a:ext>
            </a:extLst>
          </p:cNvPr>
          <p:cNvSpPr/>
          <p:nvPr userDrawn="1"/>
        </p:nvSpPr>
        <p:spPr>
          <a:xfrm>
            <a:off x="0" y="612997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Platshållare för bild 6">
            <a:extLst>
              <a:ext uri="{FF2B5EF4-FFF2-40B4-BE49-F238E27FC236}">
                <a16:creationId xmlns:a16="http://schemas.microsoft.com/office/drawing/2014/main" id="{733B926C-A7EB-4393-AE91-4468A5CB554A}"/>
              </a:ext>
            </a:extLst>
          </p:cNvPr>
          <p:cNvSpPr>
            <a:spLocks noGrp="1"/>
          </p:cNvSpPr>
          <p:nvPr>
            <p:ph type="pic" sz="quarter" idx="13"/>
          </p:nvPr>
        </p:nvSpPr>
        <p:spPr>
          <a:xfrm>
            <a:off x="-10510" y="0"/>
            <a:ext cx="12202510" cy="4781496"/>
          </a:xfrm>
          <a:custGeom>
            <a:avLst/>
            <a:gdLst>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18234"/>
              <a:gd name="connsiteX1" fmla="*/ 12192000 w 12192000"/>
              <a:gd name="connsiteY1" fmla="*/ 0 h 5318234"/>
              <a:gd name="connsiteX2" fmla="*/ 12192000 w 12192000"/>
              <a:gd name="connsiteY2" fmla="*/ 5307013 h 5318234"/>
              <a:gd name="connsiteX3" fmla="*/ 6243145 w 12192000"/>
              <a:gd name="connsiteY3" fmla="*/ 5318234 h 5318234"/>
              <a:gd name="connsiteX4" fmla="*/ 0 w 12192000"/>
              <a:gd name="connsiteY4" fmla="*/ 5307013 h 5318234"/>
              <a:gd name="connsiteX5" fmla="*/ 0 w 12192000"/>
              <a:gd name="connsiteY5" fmla="*/ 0 h 5318234"/>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6264166 w 12192000"/>
              <a:gd name="connsiteY3" fmla="*/ 4183117 h 5307013"/>
              <a:gd name="connsiteX4" fmla="*/ 0 w 12192000"/>
              <a:gd name="connsiteY4" fmla="*/ 5307013 h 5307013"/>
              <a:gd name="connsiteX5" fmla="*/ 0 w 12192000"/>
              <a:gd name="connsiteY5"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0 w 12192000"/>
              <a:gd name="connsiteY3" fmla="*/ 530701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21021 w 12192000"/>
              <a:gd name="connsiteY3" fmla="*/ 4686903 h 5307013"/>
              <a:gd name="connsiteX4" fmla="*/ 0 w 12192000"/>
              <a:gd name="connsiteY4" fmla="*/ 0 h 5307013"/>
              <a:gd name="connsiteX0" fmla="*/ 0 w 12192000"/>
              <a:gd name="connsiteY0" fmla="*/ 0 h 5307013"/>
              <a:gd name="connsiteX1" fmla="*/ 12192000 w 12192000"/>
              <a:gd name="connsiteY1" fmla="*/ 0 h 5307013"/>
              <a:gd name="connsiteX2" fmla="*/ 12192000 w 12192000"/>
              <a:gd name="connsiteY2" fmla="*/ 5307013 h 5307013"/>
              <a:gd name="connsiteX3" fmla="*/ 21021 w 12192000"/>
              <a:gd name="connsiteY3" fmla="*/ 4686903 h 5307013"/>
              <a:gd name="connsiteX4" fmla="*/ 0 w 12192000"/>
              <a:gd name="connsiteY4" fmla="*/ 0 h 5307013"/>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0 w 12192000"/>
              <a:gd name="connsiteY0" fmla="*/ 0 h 4781496"/>
              <a:gd name="connsiteX1" fmla="*/ 12192000 w 12192000"/>
              <a:gd name="connsiteY1" fmla="*/ 0 h 4781496"/>
              <a:gd name="connsiteX2" fmla="*/ 12192000 w 12192000"/>
              <a:gd name="connsiteY2" fmla="*/ 4781496 h 4781496"/>
              <a:gd name="connsiteX3" fmla="*/ 21021 w 12192000"/>
              <a:gd name="connsiteY3" fmla="*/ 4686903 h 4781496"/>
              <a:gd name="connsiteX4" fmla="*/ 0 w 12192000"/>
              <a:gd name="connsiteY4" fmla="*/ 0 h 4781496"/>
              <a:gd name="connsiteX0" fmla="*/ 10510 w 12202510"/>
              <a:gd name="connsiteY0" fmla="*/ 0 h 4781496"/>
              <a:gd name="connsiteX1" fmla="*/ 12202510 w 12202510"/>
              <a:gd name="connsiteY1" fmla="*/ 0 h 4781496"/>
              <a:gd name="connsiteX2" fmla="*/ 12202510 w 12202510"/>
              <a:gd name="connsiteY2" fmla="*/ 4781496 h 4781496"/>
              <a:gd name="connsiteX3" fmla="*/ 0 w 12202510"/>
              <a:gd name="connsiteY3" fmla="*/ 4686903 h 4781496"/>
              <a:gd name="connsiteX4" fmla="*/ 10510 w 12202510"/>
              <a:gd name="connsiteY4" fmla="*/ 0 h 4781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202510" h="4781496">
                <a:moveTo>
                  <a:pt x="10510" y="0"/>
                </a:moveTo>
                <a:lnTo>
                  <a:pt x="12202510" y="0"/>
                </a:lnTo>
                <a:lnTo>
                  <a:pt x="12202510" y="4781496"/>
                </a:lnTo>
                <a:cubicBezTo>
                  <a:pt x="10755586" y="4140365"/>
                  <a:pt x="5598509" y="2490241"/>
                  <a:pt x="0" y="4686903"/>
                </a:cubicBezTo>
                <a:cubicBezTo>
                  <a:pt x="3503" y="3124602"/>
                  <a:pt x="7007" y="1562301"/>
                  <a:pt x="10510" y="0"/>
                </a:cubicBezTo>
                <a:close/>
              </a:path>
            </a:pathLst>
          </a:custGeom>
          <a:solidFill>
            <a:schemeClr val="bg1"/>
          </a:solidFill>
        </p:spPr>
        <p:txBody>
          <a:bodyPr tIns="1332000"/>
          <a:lstStyle>
            <a:lvl1pPr marL="0" indent="0" algn="ctr">
              <a:buNone/>
              <a:defRPr/>
            </a:lvl1pPr>
          </a:lstStyle>
          <a:p>
            <a:r>
              <a:rPr lang="sv-SE"/>
              <a:t>Klicka på ikonen för att lägga till en bild</a:t>
            </a:r>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38200" y="4435504"/>
            <a:ext cx="10515600" cy="1149264"/>
          </a:xfrm>
        </p:spPr>
        <p:txBody>
          <a:bodyPr/>
          <a:lstStyle>
            <a:lvl1pPr algn="ctr">
              <a:defRPr sz="4600"/>
            </a:lvl1pPr>
          </a:lstStyle>
          <a:p>
            <a:r>
              <a:rPr lang="sv-SE"/>
              <a:t>En rubrik kommer</a:t>
            </a:r>
            <a:br>
              <a:rPr lang="sv-SE"/>
            </a:br>
            <a:r>
              <a:rPr lang="sv-SE"/>
              <a:t>att stå här och vara på två rader</a:t>
            </a:r>
          </a:p>
        </p:txBody>
      </p:sp>
      <p:sp>
        <p:nvSpPr>
          <p:cNvPr id="10" name="Underrubrik 2">
            <a:extLst>
              <a:ext uri="{FF2B5EF4-FFF2-40B4-BE49-F238E27FC236}">
                <a16:creationId xmlns:a16="http://schemas.microsoft.com/office/drawing/2014/main" id="{A1446BD1-50A4-40FE-9679-6F29CE291357}"/>
              </a:ext>
            </a:extLst>
          </p:cNvPr>
          <p:cNvSpPr>
            <a:spLocks noGrp="1"/>
          </p:cNvSpPr>
          <p:nvPr>
            <p:ph type="subTitle" idx="1" hasCustomPrompt="1"/>
          </p:nvPr>
        </p:nvSpPr>
        <p:spPr>
          <a:xfrm>
            <a:off x="385840" y="6302727"/>
            <a:ext cx="5717628" cy="410286"/>
          </a:xfrm>
        </p:spPr>
        <p:txBody>
          <a:bodyPr anchor="ctr"/>
          <a:lstStyle>
            <a:lvl1pPr marL="0" indent="0" algn="l">
              <a:buNone/>
              <a:defRPr sz="11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9" name="Bildobjekt 8">
            <a:extLst>
              <a:ext uri="{FF2B5EF4-FFF2-40B4-BE49-F238E27FC236}">
                <a16:creationId xmlns:a16="http://schemas.microsoft.com/office/drawing/2014/main" id="{25B9738A-C3E8-4B02-8BAA-0C250B908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sp>
        <p:nvSpPr>
          <p:cNvPr id="13" name="Rektangel 12">
            <a:extLst>
              <a:ext uri="{FF2B5EF4-FFF2-40B4-BE49-F238E27FC236}">
                <a16:creationId xmlns:a16="http://schemas.microsoft.com/office/drawing/2014/main" id="{F6D4D3BE-D90B-473D-BD5E-AE8A9BD8150E}"/>
              </a:ext>
            </a:extLst>
          </p:cNvPr>
          <p:cNvSpPr/>
          <p:nvPr userDrawn="1"/>
        </p:nvSpPr>
        <p:spPr>
          <a:xfrm>
            <a:off x="-2575249" y="4294662"/>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4" name="Bildobjekt 13">
            <a:extLst>
              <a:ext uri="{FF2B5EF4-FFF2-40B4-BE49-F238E27FC236}">
                <a16:creationId xmlns:a16="http://schemas.microsoft.com/office/drawing/2014/main" id="{F559ADBB-AE9C-4433-8521-A9B004D10A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40767" y="5261867"/>
            <a:ext cx="1685925" cy="628650"/>
          </a:xfrm>
          <a:prstGeom prst="rect">
            <a:avLst/>
          </a:prstGeom>
        </p:spPr>
      </p:pic>
    </p:spTree>
    <p:extLst>
      <p:ext uri="{BB962C8B-B14F-4D97-AF65-F5344CB8AC3E}">
        <p14:creationId xmlns:p14="http://schemas.microsoft.com/office/powerpoint/2010/main" val="1761328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tartsida med bild, stående ROSA">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2B9B1E09-5306-4C10-87AB-2A88B20FDCA3}"/>
              </a:ext>
            </a:extLst>
          </p:cNvPr>
          <p:cNvSpPr/>
          <p:nvPr userDrawn="1"/>
        </p:nvSpPr>
        <p:spPr>
          <a:xfrm>
            <a:off x="4534293" y="0"/>
            <a:ext cx="7657707"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 name="Platshållare för bild 3">
            <a:extLst>
              <a:ext uri="{FF2B5EF4-FFF2-40B4-BE49-F238E27FC236}">
                <a16:creationId xmlns:a16="http://schemas.microsoft.com/office/drawing/2014/main" id="{A6D5D8B6-D25B-4C93-B295-E27694AD218D}"/>
              </a:ext>
            </a:extLst>
          </p:cNvPr>
          <p:cNvSpPr>
            <a:spLocks noGrp="1"/>
          </p:cNvSpPr>
          <p:nvPr>
            <p:ph type="pic" sz="quarter" idx="10"/>
          </p:nvPr>
        </p:nvSpPr>
        <p:spPr>
          <a:xfrm>
            <a:off x="0" y="0"/>
            <a:ext cx="5409044" cy="6124575"/>
          </a:xfrm>
          <a:custGeom>
            <a:avLst/>
            <a:gdLst>
              <a:gd name="connsiteX0" fmla="*/ 0 w 5468938"/>
              <a:gd name="connsiteY0" fmla="*/ 0 h 6858000"/>
              <a:gd name="connsiteX1" fmla="*/ 2734469 w 5468938"/>
              <a:gd name="connsiteY1" fmla="*/ 0 h 6858000"/>
              <a:gd name="connsiteX2" fmla="*/ 5468938 w 5468938"/>
              <a:gd name="connsiteY2" fmla="*/ 3429000 h 6858000"/>
              <a:gd name="connsiteX3" fmla="*/ 2734469 w 5468938"/>
              <a:gd name="connsiteY3" fmla="*/ 6858000 h 6858000"/>
              <a:gd name="connsiteX4" fmla="*/ 0 w 5468938"/>
              <a:gd name="connsiteY4" fmla="*/ 6858000 h 6858000"/>
              <a:gd name="connsiteX5" fmla="*/ 0 w 5468938"/>
              <a:gd name="connsiteY5" fmla="*/ 0 h 6858000"/>
              <a:gd name="connsiteX0" fmla="*/ 0 w 5792556"/>
              <a:gd name="connsiteY0" fmla="*/ 0 h 6858000"/>
              <a:gd name="connsiteX1" fmla="*/ 4724633 w 5792556"/>
              <a:gd name="connsiteY1" fmla="*/ 0 h 6858000"/>
              <a:gd name="connsiteX2" fmla="*/ 5468938 w 5792556"/>
              <a:gd name="connsiteY2" fmla="*/ 3429000 h 6858000"/>
              <a:gd name="connsiteX3" fmla="*/ 2734469 w 5792556"/>
              <a:gd name="connsiteY3" fmla="*/ 6858000 h 6858000"/>
              <a:gd name="connsiteX4" fmla="*/ 0 w 5792556"/>
              <a:gd name="connsiteY4" fmla="*/ 6858000 h 6858000"/>
              <a:gd name="connsiteX5" fmla="*/ 0 w 5792556"/>
              <a:gd name="connsiteY5" fmla="*/ 0 h 6858000"/>
              <a:gd name="connsiteX0" fmla="*/ 0 w 5715582"/>
              <a:gd name="connsiteY0" fmla="*/ 0 h 6858000"/>
              <a:gd name="connsiteX1" fmla="*/ 4724633 w 5715582"/>
              <a:gd name="connsiteY1" fmla="*/ 0 h 6858000"/>
              <a:gd name="connsiteX2" fmla="*/ 5468938 w 5715582"/>
              <a:gd name="connsiteY2" fmla="*/ 3429000 h 6858000"/>
              <a:gd name="connsiteX3" fmla="*/ 4814281 w 5715582"/>
              <a:gd name="connsiteY3" fmla="*/ 6858000 h 6858000"/>
              <a:gd name="connsiteX4" fmla="*/ 0 w 5715582"/>
              <a:gd name="connsiteY4" fmla="*/ 6858000 h 6858000"/>
              <a:gd name="connsiteX5" fmla="*/ 0 w 5715582"/>
              <a:gd name="connsiteY5" fmla="*/ 0 h 6858000"/>
              <a:gd name="connsiteX0" fmla="*/ 0 w 5657592"/>
              <a:gd name="connsiteY0" fmla="*/ 0 h 6858000"/>
              <a:gd name="connsiteX1" fmla="*/ 4724633 w 5657592"/>
              <a:gd name="connsiteY1" fmla="*/ 0 h 6858000"/>
              <a:gd name="connsiteX2" fmla="*/ 5468938 w 5657592"/>
              <a:gd name="connsiteY2" fmla="*/ 3429000 h 6858000"/>
              <a:gd name="connsiteX3" fmla="*/ 4814281 w 5657592"/>
              <a:gd name="connsiteY3" fmla="*/ 6858000 h 6858000"/>
              <a:gd name="connsiteX4" fmla="*/ 0 w 5657592"/>
              <a:gd name="connsiteY4" fmla="*/ 6858000 h 6858000"/>
              <a:gd name="connsiteX5" fmla="*/ 0 w 5657592"/>
              <a:gd name="connsiteY5" fmla="*/ 0 h 6858000"/>
              <a:gd name="connsiteX0" fmla="*/ 0 w 5540797"/>
              <a:gd name="connsiteY0" fmla="*/ 0 h 6858000"/>
              <a:gd name="connsiteX1" fmla="*/ 4724633 w 5540797"/>
              <a:gd name="connsiteY1" fmla="*/ 0 h 6858000"/>
              <a:gd name="connsiteX2" fmla="*/ 5468938 w 5540797"/>
              <a:gd name="connsiteY2" fmla="*/ 3429000 h 6858000"/>
              <a:gd name="connsiteX3" fmla="*/ 4814281 w 5540797"/>
              <a:gd name="connsiteY3" fmla="*/ 6858000 h 6858000"/>
              <a:gd name="connsiteX4" fmla="*/ 0 w 5540797"/>
              <a:gd name="connsiteY4" fmla="*/ 6858000 h 6858000"/>
              <a:gd name="connsiteX5" fmla="*/ 0 w 5540797"/>
              <a:gd name="connsiteY5" fmla="*/ 0 h 6858000"/>
              <a:gd name="connsiteX0" fmla="*/ 0 w 5367229"/>
              <a:gd name="connsiteY0" fmla="*/ 0 h 6858000"/>
              <a:gd name="connsiteX1" fmla="*/ 4724633 w 5367229"/>
              <a:gd name="connsiteY1" fmla="*/ 0 h 6858000"/>
              <a:gd name="connsiteX2" fmla="*/ 4814281 w 5367229"/>
              <a:gd name="connsiteY2" fmla="*/ 6858000 h 6858000"/>
              <a:gd name="connsiteX3" fmla="*/ 0 w 5367229"/>
              <a:gd name="connsiteY3" fmla="*/ 6858000 h 6858000"/>
              <a:gd name="connsiteX4" fmla="*/ 0 w 5367229"/>
              <a:gd name="connsiteY4" fmla="*/ 0 h 6858000"/>
              <a:gd name="connsiteX0" fmla="*/ 0 w 5373612"/>
              <a:gd name="connsiteY0" fmla="*/ 0 h 6858000"/>
              <a:gd name="connsiteX1" fmla="*/ 4724633 w 5373612"/>
              <a:gd name="connsiteY1" fmla="*/ 0 h 6858000"/>
              <a:gd name="connsiteX2" fmla="*/ 4814281 w 5373612"/>
              <a:gd name="connsiteY2" fmla="*/ 6858000 h 6858000"/>
              <a:gd name="connsiteX3" fmla="*/ 0 w 5373612"/>
              <a:gd name="connsiteY3" fmla="*/ 6858000 h 6858000"/>
              <a:gd name="connsiteX4" fmla="*/ 0 w 5373612"/>
              <a:gd name="connsiteY4" fmla="*/ 0 h 6858000"/>
              <a:gd name="connsiteX0" fmla="*/ 0 w 5409044"/>
              <a:gd name="connsiteY0" fmla="*/ 0 h 6858000"/>
              <a:gd name="connsiteX1" fmla="*/ 4724633 w 5409044"/>
              <a:gd name="connsiteY1" fmla="*/ 0 h 6858000"/>
              <a:gd name="connsiteX2" fmla="*/ 4814281 w 5409044"/>
              <a:gd name="connsiteY2" fmla="*/ 6858000 h 6858000"/>
              <a:gd name="connsiteX3" fmla="*/ 0 w 5409044"/>
              <a:gd name="connsiteY3" fmla="*/ 6858000 h 6858000"/>
              <a:gd name="connsiteX4" fmla="*/ 0 w 54090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9044" h="6858000">
                <a:moveTo>
                  <a:pt x="0" y="0"/>
                </a:moveTo>
                <a:lnTo>
                  <a:pt x="4724633" y="0"/>
                </a:lnTo>
                <a:cubicBezTo>
                  <a:pt x="5544943" y="1510553"/>
                  <a:pt x="5691367" y="5015753"/>
                  <a:pt x="4814281" y="6858000"/>
                </a:cubicBezTo>
                <a:lnTo>
                  <a:pt x="0" y="6858000"/>
                </a:lnTo>
                <a:lnTo>
                  <a:pt x="0" y="0"/>
                </a:lnTo>
                <a:close/>
              </a:path>
            </a:pathLst>
          </a:custGeom>
          <a:solidFill>
            <a:schemeClr val="bg1"/>
          </a:solidFill>
          <a:ln>
            <a:noFill/>
          </a:ln>
        </p:spPr>
        <p:txBody>
          <a:bodyPr tIns="612000"/>
          <a:lstStyle>
            <a:lvl1pPr marL="0" indent="0" algn="ctr">
              <a:buNone/>
              <a:defRPr/>
            </a:lvl1pPr>
          </a:lstStyle>
          <a:p>
            <a:r>
              <a:rPr lang="sv-SE"/>
              <a:t>Klicka på ikonen för att lägga till en bild</a:t>
            </a:r>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6113929" y="2438399"/>
            <a:ext cx="5732929" cy="2518839"/>
          </a:xfrm>
        </p:spPr>
        <p:txBody>
          <a:bodyPr anchor="t"/>
          <a:lstStyle>
            <a:lvl1pPr algn="l">
              <a:defRPr sz="4600"/>
            </a:lvl1pPr>
          </a:lstStyle>
          <a:p>
            <a:r>
              <a:rPr lang="sv-SE"/>
              <a:t>En rubrik kommer</a:t>
            </a:r>
            <a:br>
              <a:rPr lang="sv-SE"/>
            </a:br>
            <a:r>
              <a:rPr lang="sv-SE"/>
              <a:t>att stå här och vara på tre rader</a:t>
            </a:r>
          </a:p>
        </p:txBody>
      </p:sp>
      <p:pic>
        <p:nvPicPr>
          <p:cNvPr id="9" name="Bildobjekt 8">
            <a:extLst>
              <a:ext uri="{FF2B5EF4-FFF2-40B4-BE49-F238E27FC236}">
                <a16:creationId xmlns:a16="http://schemas.microsoft.com/office/drawing/2014/main" id="{25B9738A-C3E8-4B02-8BAA-0C250B908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sp>
        <p:nvSpPr>
          <p:cNvPr id="13" name="Rektangel 12">
            <a:extLst>
              <a:ext uri="{FF2B5EF4-FFF2-40B4-BE49-F238E27FC236}">
                <a16:creationId xmlns:a16="http://schemas.microsoft.com/office/drawing/2014/main" id="{F6D4D3BE-D90B-473D-BD5E-AE8A9BD8150E}"/>
              </a:ext>
            </a:extLst>
          </p:cNvPr>
          <p:cNvSpPr/>
          <p:nvPr userDrawn="1"/>
        </p:nvSpPr>
        <p:spPr>
          <a:xfrm>
            <a:off x="-2575249" y="4294662"/>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4" name="Bildobjekt 13">
            <a:extLst>
              <a:ext uri="{FF2B5EF4-FFF2-40B4-BE49-F238E27FC236}">
                <a16:creationId xmlns:a16="http://schemas.microsoft.com/office/drawing/2014/main" id="{F559ADBB-AE9C-4433-8521-A9B004D10A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40767" y="5261867"/>
            <a:ext cx="1685925" cy="628650"/>
          </a:xfrm>
          <a:prstGeom prst="rect">
            <a:avLst/>
          </a:prstGeom>
        </p:spPr>
      </p:pic>
      <p:sp>
        <p:nvSpPr>
          <p:cNvPr id="32" name="Rektangel 31">
            <a:extLst>
              <a:ext uri="{FF2B5EF4-FFF2-40B4-BE49-F238E27FC236}">
                <a16:creationId xmlns:a16="http://schemas.microsoft.com/office/drawing/2014/main" id="{813EFC0E-885A-43B5-9260-07804A71EAA3}"/>
              </a:ext>
            </a:extLst>
          </p:cNvPr>
          <p:cNvSpPr/>
          <p:nvPr userDrawn="1"/>
        </p:nvSpPr>
        <p:spPr>
          <a:xfrm>
            <a:off x="0" y="611204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3" name="Underrubrik 2">
            <a:extLst>
              <a:ext uri="{FF2B5EF4-FFF2-40B4-BE49-F238E27FC236}">
                <a16:creationId xmlns:a16="http://schemas.microsoft.com/office/drawing/2014/main" id="{B8308509-CDE4-4C50-93DD-8185D4032388}"/>
              </a:ext>
            </a:extLst>
          </p:cNvPr>
          <p:cNvSpPr>
            <a:spLocks noGrp="1"/>
          </p:cNvSpPr>
          <p:nvPr>
            <p:ph type="subTitle" idx="1" hasCustomPrompt="1"/>
          </p:nvPr>
        </p:nvSpPr>
        <p:spPr>
          <a:xfrm>
            <a:off x="385840" y="6284797"/>
            <a:ext cx="5717628" cy="410286"/>
          </a:xfrm>
        </p:spPr>
        <p:txBody>
          <a:bodyPr anchor="ctr"/>
          <a:lstStyle>
            <a:lvl1pPr marL="0" indent="0" algn="l">
              <a:buNone/>
              <a:defRPr sz="11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34" name="Bildobjekt 33">
            <a:extLst>
              <a:ext uri="{FF2B5EF4-FFF2-40B4-BE49-F238E27FC236}">
                <a16:creationId xmlns:a16="http://schemas.microsoft.com/office/drawing/2014/main" id="{F82C88D0-E5EA-4C03-9F7E-472FA161F65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298796"/>
            <a:ext cx="811630" cy="329318"/>
          </a:xfrm>
          <a:prstGeom prst="rect">
            <a:avLst/>
          </a:prstGeom>
        </p:spPr>
      </p:pic>
    </p:spTree>
    <p:extLst>
      <p:ext uri="{BB962C8B-B14F-4D97-AF65-F5344CB8AC3E}">
        <p14:creationId xmlns:p14="http://schemas.microsoft.com/office/powerpoint/2010/main" val="3009223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tartsida med bild, stående VIT">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2B9B1E09-5306-4C10-87AB-2A88B20FDCA3}"/>
              </a:ext>
            </a:extLst>
          </p:cNvPr>
          <p:cNvSpPr/>
          <p:nvPr userDrawn="1"/>
        </p:nvSpPr>
        <p:spPr>
          <a:xfrm>
            <a:off x="4534293" y="0"/>
            <a:ext cx="765770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 name="Platshållare för bild 3">
            <a:extLst>
              <a:ext uri="{FF2B5EF4-FFF2-40B4-BE49-F238E27FC236}">
                <a16:creationId xmlns:a16="http://schemas.microsoft.com/office/drawing/2014/main" id="{A6D5D8B6-D25B-4C93-B295-E27694AD218D}"/>
              </a:ext>
            </a:extLst>
          </p:cNvPr>
          <p:cNvSpPr>
            <a:spLocks noGrp="1"/>
          </p:cNvSpPr>
          <p:nvPr>
            <p:ph type="pic" sz="quarter" idx="10"/>
          </p:nvPr>
        </p:nvSpPr>
        <p:spPr>
          <a:xfrm>
            <a:off x="0" y="0"/>
            <a:ext cx="5409044" cy="6115050"/>
          </a:xfrm>
          <a:custGeom>
            <a:avLst/>
            <a:gdLst>
              <a:gd name="connsiteX0" fmla="*/ 0 w 5468938"/>
              <a:gd name="connsiteY0" fmla="*/ 0 h 6858000"/>
              <a:gd name="connsiteX1" fmla="*/ 2734469 w 5468938"/>
              <a:gd name="connsiteY1" fmla="*/ 0 h 6858000"/>
              <a:gd name="connsiteX2" fmla="*/ 5468938 w 5468938"/>
              <a:gd name="connsiteY2" fmla="*/ 3429000 h 6858000"/>
              <a:gd name="connsiteX3" fmla="*/ 2734469 w 5468938"/>
              <a:gd name="connsiteY3" fmla="*/ 6858000 h 6858000"/>
              <a:gd name="connsiteX4" fmla="*/ 0 w 5468938"/>
              <a:gd name="connsiteY4" fmla="*/ 6858000 h 6858000"/>
              <a:gd name="connsiteX5" fmla="*/ 0 w 5468938"/>
              <a:gd name="connsiteY5" fmla="*/ 0 h 6858000"/>
              <a:gd name="connsiteX0" fmla="*/ 0 w 5792556"/>
              <a:gd name="connsiteY0" fmla="*/ 0 h 6858000"/>
              <a:gd name="connsiteX1" fmla="*/ 4724633 w 5792556"/>
              <a:gd name="connsiteY1" fmla="*/ 0 h 6858000"/>
              <a:gd name="connsiteX2" fmla="*/ 5468938 w 5792556"/>
              <a:gd name="connsiteY2" fmla="*/ 3429000 h 6858000"/>
              <a:gd name="connsiteX3" fmla="*/ 2734469 w 5792556"/>
              <a:gd name="connsiteY3" fmla="*/ 6858000 h 6858000"/>
              <a:gd name="connsiteX4" fmla="*/ 0 w 5792556"/>
              <a:gd name="connsiteY4" fmla="*/ 6858000 h 6858000"/>
              <a:gd name="connsiteX5" fmla="*/ 0 w 5792556"/>
              <a:gd name="connsiteY5" fmla="*/ 0 h 6858000"/>
              <a:gd name="connsiteX0" fmla="*/ 0 w 5715582"/>
              <a:gd name="connsiteY0" fmla="*/ 0 h 6858000"/>
              <a:gd name="connsiteX1" fmla="*/ 4724633 w 5715582"/>
              <a:gd name="connsiteY1" fmla="*/ 0 h 6858000"/>
              <a:gd name="connsiteX2" fmla="*/ 5468938 w 5715582"/>
              <a:gd name="connsiteY2" fmla="*/ 3429000 h 6858000"/>
              <a:gd name="connsiteX3" fmla="*/ 4814281 w 5715582"/>
              <a:gd name="connsiteY3" fmla="*/ 6858000 h 6858000"/>
              <a:gd name="connsiteX4" fmla="*/ 0 w 5715582"/>
              <a:gd name="connsiteY4" fmla="*/ 6858000 h 6858000"/>
              <a:gd name="connsiteX5" fmla="*/ 0 w 5715582"/>
              <a:gd name="connsiteY5" fmla="*/ 0 h 6858000"/>
              <a:gd name="connsiteX0" fmla="*/ 0 w 5657592"/>
              <a:gd name="connsiteY0" fmla="*/ 0 h 6858000"/>
              <a:gd name="connsiteX1" fmla="*/ 4724633 w 5657592"/>
              <a:gd name="connsiteY1" fmla="*/ 0 h 6858000"/>
              <a:gd name="connsiteX2" fmla="*/ 5468938 w 5657592"/>
              <a:gd name="connsiteY2" fmla="*/ 3429000 h 6858000"/>
              <a:gd name="connsiteX3" fmla="*/ 4814281 w 5657592"/>
              <a:gd name="connsiteY3" fmla="*/ 6858000 h 6858000"/>
              <a:gd name="connsiteX4" fmla="*/ 0 w 5657592"/>
              <a:gd name="connsiteY4" fmla="*/ 6858000 h 6858000"/>
              <a:gd name="connsiteX5" fmla="*/ 0 w 5657592"/>
              <a:gd name="connsiteY5" fmla="*/ 0 h 6858000"/>
              <a:gd name="connsiteX0" fmla="*/ 0 w 5540797"/>
              <a:gd name="connsiteY0" fmla="*/ 0 h 6858000"/>
              <a:gd name="connsiteX1" fmla="*/ 4724633 w 5540797"/>
              <a:gd name="connsiteY1" fmla="*/ 0 h 6858000"/>
              <a:gd name="connsiteX2" fmla="*/ 5468938 w 5540797"/>
              <a:gd name="connsiteY2" fmla="*/ 3429000 h 6858000"/>
              <a:gd name="connsiteX3" fmla="*/ 4814281 w 5540797"/>
              <a:gd name="connsiteY3" fmla="*/ 6858000 h 6858000"/>
              <a:gd name="connsiteX4" fmla="*/ 0 w 5540797"/>
              <a:gd name="connsiteY4" fmla="*/ 6858000 h 6858000"/>
              <a:gd name="connsiteX5" fmla="*/ 0 w 5540797"/>
              <a:gd name="connsiteY5" fmla="*/ 0 h 6858000"/>
              <a:gd name="connsiteX0" fmla="*/ 0 w 5367229"/>
              <a:gd name="connsiteY0" fmla="*/ 0 h 6858000"/>
              <a:gd name="connsiteX1" fmla="*/ 4724633 w 5367229"/>
              <a:gd name="connsiteY1" fmla="*/ 0 h 6858000"/>
              <a:gd name="connsiteX2" fmla="*/ 4814281 w 5367229"/>
              <a:gd name="connsiteY2" fmla="*/ 6858000 h 6858000"/>
              <a:gd name="connsiteX3" fmla="*/ 0 w 5367229"/>
              <a:gd name="connsiteY3" fmla="*/ 6858000 h 6858000"/>
              <a:gd name="connsiteX4" fmla="*/ 0 w 5367229"/>
              <a:gd name="connsiteY4" fmla="*/ 0 h 6858000"/>
              <a:gd name="connsiteX0" fmla="*/ 0 w 5373612"/>
              <a:gd name="connsiteY0" fmla="*/ 0 h 6858000"/>
              <a:gd name="connsiteX1" fmla="*/ 4724633 w 5373612"/>
              <a:gd name="connsiteY1" fmla="*/ 0 h 6858000"/>
              <a:gd name="connsiteX2" fmla="*/ 4814281 w 5373612"/>
              <a:gd name="connsiteY2" fmla="*/ 6858000 h 6858000"/>
              <a:gd name="connsiteX3" fmla="*/ 0 w 5373612"/>
              <a:gd name="connsiteY3" fmla="*/ 6858000 h 6858000"/>
              <a:gd name="connsiteX4" fmla="*/ 0 w 5373612"/>
              <a:gd name="connsiteY4" fmla="*/ 0 h 6858000"/>
              <a:gd name="connsiteX0" fmla="*/ 0 w 5409044"/>
              <a:gd name="connsiteY0" fmla="*/ 0 h 6858000"/>
              <a:gd name="connsiteX1" fmla="*/ 4724633 w 5409044"/>
              <a:gd name="connsiteY1" fmla="*/ 0 h 6858000"/>
              <a:gd name="connsiteX2" fmla="*/ 4814281 w 5409044"/>
              <a:gd name="connsiteY2" fmla="*/ 6858000 h 6858000"/>
              <a:gd name="connsiteX3" fmla="*/ 0 w 5409044"/>
              <a:gd name="connsiteY3" fmla="*/ 6858000 h 6858000"/>
              <a:gd name="connsiteX4" fmla="*/ 0 w 54090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9044" h="6858000">
                <a:moveTo>
                  <a:pt x="0" y="0"/>
                </a:moveTo>
                <a:lnTo>
                  <a:pt x="4724633" y="0"/>
                </a:lnTo>
                <a:cubicBezTo>
                  <a:pt x="5544943" y="1510553"/>
                  <a:pt x="5691367" y="5015753"/>
                  <a:pt x="4814281" y="6858000"/>
                </a:cubicBezTo>
                <a:lnTo>
                  <a:pt x="0" y="6858000"/>
                </a:lnTo>
                <a:lnTo>
                  <a:pt x="0" y="0"/>
                </a:lnTo>
                <a:close/>
              </a:path>
            </a:pathLst>
          </a:custGeom>
          <a:solidFill>
            <a:schemeClr val="bg1"/>
          </a:solidFill>
          <a:ln>
            <a:noFill/>
          </a:ln>
        </p:spPr>
        <p:txBody>
          <a:bodyPr tIns="612000"/>
          <a:lstStyle>
            <a:lvl1pPr marL="0" indent="0" algn="ctr">
              <a:buNone/>
              <a:defRPr/>
            </a:lvl1pPr>
          </a:lstStyle>
          <a:p>
            <a:r>
              <a:rPr lang="sv-SE"/>
              <a:t>Klicka på ikonen för att lägga till en bild</a:t>
            </a:r>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6113929" y="2438399"/>
            <a:ext cx="5732929" cy="2518839"/>
          </a:xfrm>
        </p:spPr>
        <p:txBody>
          <a:bodyPr anchor="t"/>
          <a:lstStyle>
            <a:lvl1pPr algn="l">
              <a:defRPr sz="4600"/>
            </a:lvl1pPr>
          </a:lstStyle>
          <a:p>
            <a:r>
              <a:rPr lang="sv-SE"/>
              <a:t>En rubrik kommer</a:t>
            </a:r>
            <a:br>
              <a:rPr lang="sv-SE"/>
            </a:br>
            <a:r>
              <a:rPr lang="sv-SE"/>
              <a:t>att stå här och vara på tre rader</a:t>
            </a:r>
          </a:p>
        </p:txBody>
      </p:sp>
      <p:pic>
        <p:nvPicPr>
          <p:cNvPr id="9" name="Bildobjekt 8">
            <a:extLst>
              <a:ext uri="{FF2B5EF4-FFF2-40B4-BE49-F238E27FC236}">
                <a16:creationId xmlns:a16="http://schemas.microsoft.com/office/drawing/2014/main" id="{25B9738A-C3E8-4B02-8BAA-0C250B908C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sp>
        <p:nvSpPr>
          <p:cNvPr id="13" name="Rektangel 12">
            <a:extLst>
              <a:ext uri="{FF2B5EF4-FFF2-40B4-BE49-F238E27FC236}">
                <a16:creationId xmlns:a16="http://schemas.microsoft.com/office/drawing/2014/main" id="{F6D4D3BE-D90B-473D-BD5E-AE8A9BD8150E}"/>
              </a:ext>
            </a:extLst>
          </p:cNvPr>
          <p:cNvSpPr/>
          <p:nvPr userDrawn="1"/>
        </p:nvSpPr>
        <p:spPr>
          <a:xfrm>
            <a:off x="-2575249" y="4294662"/>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4" name="Bildobjekt 13">
            <a:extLst>
              <a:ext uri="{FF2B5EF4-FFF2-40B4-BE49-F238E27FC236}">
                <a16:creationId xmlns:a16="http://schemas.microsoft.com/office/drawing/2014/main" id="{F559ADBB-AE9C-4433-8521-A9B004D10A1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40767" y="5261867"/>
            <a:ext cx="1685925" cy="628650"/>
          </a:xfrm>
          <a:prstGeom prst="rect">
            <a:avLst/>
          </a:prstGeom>
        </p:spPr>
      </p:pic>
      <p:sp>
        <p:nvSpPr>
          <p:cNvPr id="32" name="Rektangel 31">
            <a:extLst>
              <a:ext uri="{FF2B5EF4-FFF2-40B4-BE49-F238E27FC236}">
                <a16:creationId xmlns:a16="http://schemas.microsoft.com/office/drawing/2014/main" id="{D7C6379A-E5B9-4DBE-87E3-D8A0F4B3241B}"/>
              </a:ext>
            </a:extLst>
          </p:cNvPr>
          <p:cNvSpPr/>
          <p:nvPr userDrawn="1"/>
        </p:nvSpPr>
        <p:spPr>
          <a:xfrm>
            <a:off x="0" y="611204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3" name="Underrubrik 2">
            <a:extLst>
              <a:ext uri="{FF2B5EF4-FFF2-40B4-BE49-F238E27FC236}">
                <a16:creationId xmlns:a16="http://schemas.microsoft.com/office/drawing/2014/main" id="{98DE3D41-C2B5-4D95-91B2-B0834D588D45}"/>
              </a:ext>
            </a:extLst>
          </p:cNvPr>
          <p:cNvSpPr>
            <a:spLocks noGrp="1"/>
          </p:cNvSpPr>
          <p:nvPr>
            <p:ph type="subTitle" idx="1" hasCustomPrompt="1"/>
          </p:nvPr>
        </p:nvSpPr>
        <p:spPr>
          <a:xfrm>
            <a:off x="385840" y="6284797"/>
            <a:ext cx="5717628" cy="410286"/>
          </a:xfrm>
        </p:spPr>
        <p:txBody>
          <a:bodyPr anchor="ctr"/>
          <a:lstStyle>
            <a:lvl1pPr marL="0" indent="0" algn="l">
              <a:buNone/>
              <a:defRPr sz="1100" b="0" cap="all" baseline="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Ämne/titel/namn/datum</a:t>
            </a:r>
          </a:p>
        </p:txBody>
      </p:sp>
      <p:pic>
        <p:nvPicPr>
          <p:cNvPr id="34" name="Bildobjekt 33">
            <a:extLst>
              <a:ext uri="{FF2B5EF4-FFF2-40B4-BE49-F238E27FC236}">
                <a16:creationId xmlns:a16="http://schemas.microsoft.com/office/drawing/2014/main" id="{2BD7D724-E84A-4821-8A86-18337A83236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79317" y="6298796"/>
            <a:ext cx="811630" cy="329318"/>
          </a:xfrm>
          <a:prstGeom prst="rect">
            <a:avLst/>
          </a:prstGeom>
        </p:spPr>
      </p:pic>
    </p:spTree>
    <p:extLst>
      <p:ext uri="{BB962C8B-B14F-4D97-AF65-F5344CB8AC3E}">
        <p14:creationId xmlns:p14="http://schemas.microsoft.com/office/powerpoint/2010/main" val="18026850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Kapitelsida ROSA">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B980B2C3-6720-4B17-BCEF-D058EE6EA5EF}"/>
              </a:ext>
            </a:extLst>
          </p:cNvPr>
          <p:cNvSpPr/>
          <p:nvPr userDrawn="1"/>
        </p:nvSpPr>
        <p:spPr>
          <a:xfrm>
            <a:off x="0" y="0"/>
            <a:ext cx="12192000" cy="611702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38200" y="1540043"/>
            <a:ext cx="10515600" cy="2679331"/>
          </a:xfrm>
        </p:spPr>
        <p:txBody>
          <a:bodyPr anchor="ctr"/>
          <a:lstStyle>
            <a:lvl1pPr algn="ctr">
              <a:defRPr sz="4600"/>
            </a:lvl1pPr>
          </a:lstStyle>
          <a:p>
            <a:r>
              <a:rPr lang="sv-SE">
                <a:solidFill>
                  <a:schemeClr val="accent1"/>
                </a:solidFill>
              </a:rPr>
              <a:t>Vi finns på</a:t>
            </a:r>
            <a:br>
              <a:rPr lang="sv-SE"/>
            </a:br>
            <a:r>
              <a:rPr lang="sv-SE"/>
              <a:t>webb och telefon och</a:t>
            </a:r>
            <a:br>
              <a:rPr lang="sv-SE"/>
            </a:br>
            <a:r>
              <a:rPr lang="sv-SE"/>
              <a:t>har öppet dygnet runt</a:t>
            </a:r>
          </a:p>
        </p:txBody>
      </p:sp>
      <p:sp>
        <p:nvSpPr>
          <p:cNvPr id="6" name="Platshållare för sidfot 4">
            <a:extLst>
              <a:ext uri="{FF2B5EF4-FFF2-40B4-BE49-F238E27FC236}">
                <a16:creationId xmlns:a16="http://schemas.microsoft.com/office/drawing/2014/main" id="{E744CDB5-661C-4791-9896-07C2BE0466E4}"/>
              </a:ext>
            </a:extLst>
          </p:cNvPr>
          <p:cNvSpPr>
            <a:spLocks noGrp="1"/>
          </p:cNvSpPr>
          <p:nvPr>
            <p:ph type="ftr" sz="quarter" idx="3"/>
          </p:nvPr>
        </p:nvSpPr>
        <p:spPr>
          <a:xfrm>
            <a:off x="711722" y="6311973"/>
            <a:ext cx="4114800" cy="365125"/>
          </a:xfrm>
          <a:prstGeom prst="rect">
            <a:avLst/>
          </a:prstGeom>
        </p:spPr>
        <p:txBody>
          <a:bodyPr vert="horz" lIns="0" tIns="0" rIns="0" bIns="0" rtlCol="0" anchor="ctr"/>
          <a:lstStyle>
            <a:lvl1pPr algn="l">
              <a:defRPr sz="1050" b="0">
                <a:solidFill>
                  <a:schemeClr val="bg1"/>
                </a:solidFill>
              </a:defRPr>
            </a:lvl1pPr>
          </a:lstStyle>
          <a:p>
            <a:endParaRPr lang="sv-SE"/>
          </a:p>
        </p:txBody>
      </p:sp>
      <p:sp>
        <p:nvSpPr>
          <p:cNvPr id="7" name="Platshållare för bildnummer 5">
            <a:extLst>
              <a:ext uri="{FF2B5EF4-FFF2-40B4-BE49-F238E27FC236}">
                <a16:creationId xmlns:a16="http://schemas.microsoft.com/office/drawing/2014/main" id="{B7223757-76B0-47E7-AE0D-6C3F025C0278}"/>
              </a:ext>
            </a:extLst>
          </p:cNvPr>
          <p:cNvSpPr>
            <a:spLocks noGrp="1"/>
          </p:cNvSpPr>
          <p:nvPr>
            <p:ph type="sldNum" sz="quarter" idx="4"/>
          </p:nvPr>
        </p:nvSpPr>
        <p:spPr>
          <a:xfrm>
            <a:off x="276721" y="6311994"/>
            <a:ext cx="390055" cy="365125"/>
          </a:xfrm>
          <a:prstGeom prst="rect">
            <a:avLst/>
          </a:prstGeom>
        </p:spPr>
        <p:txBody>
          <a:bodyPr vert="horz" lIns="91440" tIns="45720" rIns="91440" bIns="45720" rtlCol="0" anchor="ctr"/>
          <a:lstStyle>
            <a:lvl1pPr algn="r">
              <a:defRPr sz="1050">
                <a:solidFill>
                  <a:schemeClr val="bg1"/>
                </a:solidFill>
              </a:defRPr>
            </a:lvl1pPr>
          </a:lstStyle>
          <a:p>
            <a:fld id="{7FF155A8-5C6D-4241-95DF-81E4F2B16EE5}" type="slidenum">
              <a:rPr lang="sv-SE" smtClean="0"/>
              <a:pPr/>
              <a:t>‹#›</a:t>
            </a:fld>
            <a:endParaRPr lang="sv-SE"/>
          </a:p>
        </p:txBody>
      </p:sp>
    </p:spTree>
    <p:extLst>
      <p:ext uri="{BB962C8B-B14F-4D97-AF65-F5344CB8AC3E}">
        <p14:creationId xmlns:p14="http://schemas.microsoft.com/office/powerpoint/2010/main" val="961846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itelsida VI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38200" y="1540043"/>
            <a:ext cx="10515600" cy="2679331"/>
          </a:xfrm>
        </p:spPr>
        <p:txBody>
          <a:bodyPr anchor="ctr"/>
          <a:lstStyle>
            <a:lvl1pPr algn="ctr">
              <a:defRPr sz="4600"/>
            </a:lvl1pPr>
          </a:lstStyle>
          <a:p>
            <a:r>
              <a:rPr lang="sv-SE">
                <a:solidFill>
                  <a:schemeClr val="accent1"/>
                </a:solidFill>
              </a:rPr>
              <a:t>Vi finns på</a:t>
            </a:r>
            <a:br>
              <a:rPr lang="sv-SE"/>
            </a:br>
            <a:r>
              <a:rPr lang="sv-SE"/>
              <a:t>webb och telefon och</a:t>
            </a:r>
            <a:br>
              <a:rPr lang="sv-SE"/>
            </a:br>
            <a:r>
              <a:rPr lang="sv-SE"/>
              <a:t>har öppet dygnet runt</a:t>
            </a:r>
          </a:p>
        </p:txBody>
      </p:sp>
      <p:sp>
        <p:nvSpPr>
          <p:cNvPr id="6" name="Platshållare för sidfot 4">
            <a:extLst>
              <a:ext uri="{FF2B5EF4-FFF2-40B4-BE49-F238E27FC236}">
                <a16:creationId xmlns:a16="http://schemas.microsoft.com/office/drawing/2014/main" id="{E744CDB5-661C-4791-9896-07C2BE0466E4}"/>
              </a:ext>
            </a:extLst>
          </p:cNvPr>
          <p:cNvSpPr>
            <a:spLocks noGrp="1"/>
          </p:cNvSpPr>
          <p:nvPr>
            <p:ph type="ftr" sz="quarter" idx="3"/>
          </p:nvPr>
        </p:nvSpPr>
        <p:spPr>
          <a:xfrm>
            <a:off x="711722" y="6311973"/>
            <a:ext cx="4114800" cy="365125"/>
          </a:xfrm>
          <a:prstGeom prst="rect">
            <a:avLst/>
          </a:prstGeom>
        </p:spPr>
        <p:txBody>
          <a:bodyPr vert="horz" lIns="0" tIns="0" rIns="0" bIns="0" rtlCol="0" anchor="ctr"/>
          <a:lstStyle>
            <a:lvl1pPr algn="l">
              <a:defRPr sz="1050" b="0">
                <a:solidFill>
                  <a:schemeClr val="bg1"/>
                </a:solidFill>
              </a:defRPr>
            </a:lvl1pPr>
          </a:lstStyle>
          <a:p>
            <a:endParaRPr lang="sv-SE"/>
          </a:p>
        </p:txBody>
      </p:sp>
      <p:sp>
        <p:nvSpPr>
          <p:cNvPr id="7" name="Platshållare för bildnummer 5">
            <a:extLst>
              <a:ext uri="{FF2B5EF4-FFF2-40B4-BE49-F238E27FC236}">
                <a16:creationId xmlns:a16="http://schemas.microsoft.com/office/drawing/2014/main" id="{B7223757-76B0-47E7-AE0D-6C3F025C0278}"/>
              </a:ext>
            </a:extLst>
          </p:cNvPr>
          <p:cNvSpPr>
            <a:spLocks noGrp="1"/>
          </p:cNvSpPr>
          <p:nvPr>
            <p:ph type="sldNum" sz="quarter" idx="4"/>
          </p:nvPr>
        </p:nvSpPr>
        <p:spPr>
          <a:xfrm>
            <a:off x="276721" y="6311994"/>
            <a:ext cx="390055" cy="365125"/>
          </a:xfrm>
          <a:prstGeom prst="rect">
            <a:avLst/>
          </a:prstGeom>
        </p:spPr>
        <p:txBody>
          <a:bodyPr vert="horz" lIns="91440" tIns="45720" rIns="91440" bIns="45720" rtlCol="0" anchor="ctr"/>
          <a:lstStyle>
            <a:lvl1pPr algn="r">
              <a:defRPr sz="1050">
                <a:solidFill>
                  <a:schemeClr val="bg1"/>
                </a:solidFill>
              </a:defRPr>
            </a:lvl1pPr>
          </a:lstStyle>
          <a:p>
            <a:fld id="{7FF155A8-5C6D-4241-95DF-81E4F2B16EE5}" type="slidenum">
              <a:rPr lang="sv-SE" smtClean="0"/>
              <a:pPr/>
              <a:t>‹#›</a:t>
            </a:fld>
            <a:endParaRPr lang="sv-SE"/>
          </a:p>
        </p:txBody>
      </p:sp>
    </p:spTree>
    <p:extLst>
      <p:ext uri="{BB962C8B-B14F-4D97-AF65-F5344CB8AC3E}">
        <p14:creationId xmlns:p14="http://schemas.microsoft.com/office/powerpoint/2010/main" val="484231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andardsida">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97E423A-6DB5-459A-B33C-DC429504900E}"/>
              </a:ext>
            </a:extLst>
          </p:cNvPr>
          <p:cNvSpPr>
            <a:spLocks noGrp="1"/>
          </p:cNvSpPr>
          <p:nvPr>
            <p:ph type="title" hasCustomPrompt="1"/>
          </p:nvPr>
        </p:nvSpPr>
        <p:spPr>
          <a:xfrm>
            <a:off x="874296" y="84221"/>
            <a:ext cx="10072630" cy="1149264"/>
          </a:xfrm>
        </p:spPr>
        <p:txBody>
          <a:bodyPr/>
          <a:lstStyle>
            <a:lvl1pPr>
              <a:defRPr/>
            </a:lvl1pPr>
          </a:lstStyle>
          <a:p>
            <a:r>
              <a:rPr lang="sv-SE"/>
              <a:t>Rubrik på en rad</a:t>
            </a:r>
          </a:p>
        </p:txBody>
      </p:sp>
      <p:sp>
        <p:nvSpPr>
          <p:cNvPr id="3" name="Platshållare för innehåll 2">
            <a:extLst>
              <a:ext uri="{FF2B5EF4-FFF2-40B4-BE49-F238E27FC236}">
                <a16:creationId xmlns:a16="http://schemas.microsoft.com/office/drawing/2014/main" id="{C591B10F-9AE3-44F1-83B7-0D36638C58B2}"/>
              </a:ext>
            </a:extLst>
          </p:cNvPr>
          <p:cNvSpPr>
            <a:spLocks noGrp="1"/>
          </p:cNvSpPr>
          <p:nvPr>
            <p:ph idx="1"/>
          </p:nvPr>
        </p:nvSpPr>
        <p:spPr>
          <a:xfrm>
            <a:off x="922423" y="1693273"/>
            <a:ext cx="10018845" cy="3564527"/>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5" name="Platshållare för sidfot 4">
            <a:extLst>
              <a:ext uri="{FF2B5EF4-FFF2-40B4-BE49-F238E27FC236}">
                <a16:creationId xmlns:a16="http://schemas.microsoft.com/office/drawing/2014/main" id="{7C8D24B6-D2A2-49C9-BA42-DB7B32029E04}"/>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E77E05EC-B5C7-4E5C-99AF-DAA72183B66D}"/>
              </a:ext>
            </a:extLst>
          </p:cNvPr>
          <p:cNvSpPr>
            <a:spLocks noGrp="1"/>
          </p:cNvSpPr>
          <p:nvPr>
            <p:ph type="sldNum" sz="quarter" idx="12"/>
          </p:nvPr>
        </p:nvSpPr>
        <p:spPr/>
        <p:txBody>
          <a:bodyPr/>
          <a:lstStyle/>
          <a:p>
            <a:fld id="{7FF155A8-5C6D-4241-95DF-81E4F2B16EE5}" type="slidenum">
              <a:rPr lang="sv-SE" smtClean="0"/>
              <a:t>‹#›</a:t>
            </a:fld>
            <a:endParaRPr lang="sv-SE"/>
          </a:p>
        </p:txBody>
      </p:sp>
    </p:spTree>
    <p:extLst>
      <p:ext uri="{BB962C8B-B14F-4D97-AF65-F5344CB8AC3E}">
        <p14:creationId xmlns:p14="http://schemas.microsoft.com/office/powerpoint/2010/main" val="3743657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image" Target="../media/image3.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223EEBE-07D2-4BC2-B732-B72D949BF9D0}"/>
              </a:ext>
            </a:extLst>
          </p:cNvPr>
          <p:cNvGraphicFramePr>
            <a:graphicFrameLocks noChangeAspect="1"/>
          </p:cNvGraphicFramePr>
          <p:nvPr userDrawn="1">
            <p:custDataLst>
              <p:tags r:id="rId16"/>
            </p:custDataLst>
            <p:extLst>
              <p:ext uri="{D42A27DB-BD31-4B8C-83A1-F6EECF244321}">
                <p14:modId xmlns:p14="http://schemas.microsoft.com/office/powerpoint/2010/main" val="2449757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8" imgW="411" imgH="412" progId="TCLayout.ActiveDocument.1">
                  <p:embed/>
                </p:oleObj>
              </mc:Choice>
              <mc:Fallback>
                <p:oleObj name="think-cell Slide" r:id="rId18" imgW="411" imgH="412" progId="TCLayout.ActiveDocument.1">
                  <p:embed/>
                  <p:pic>
                    <p:nvPicPr>
                      <p:cNvPr id="11" name="Objekt 10" hidden="1">
                        <a:extLst>
                          <a:ext uri="{FF2B5EF4-FFF2-40B4-BE49-F238E27FC236}">
                            <a16:creationId xmlns:a16="http://schemas.microsoft.com/office/drawing/2014/main" id="{7223EEBE-07D2-4BC2-B732-B72D949BF9D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8" name="Rektangel 7" hidden="1">
            <a:extLst>
              <a:ext uri="{FF2B5EF4-FFF2-40B4-BE49-F238E27FC236}">
                <a16:creationId xmlns:a16="http://schemas.microsoft.com/office/drawing/2014/main" id="{92491012-DCA1-42B2-89F4-9B6C3B60D0E8}"/>
              </a:ext>
            </a:extLst>
          </p:cNvPr>
          <p:cNvSpPr/>
          <p:nvPr userDrawn="1">
            <p:custDataLst>
              <p:tags r:id="rId17"/>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sv-SE" sz="3400" b="1" i="0" baseline="0">
              <a:latin typeface="Inter"/>
              <a:ea typeface="+mj-ea"/>
              <a:cs typeface="+mj-cs"/>
              <a:sym typeface="Inter"/>
            </a:endParaRPr>
          </a:p>
        </p:txBody>
      </p:sp>
      <p:sp>
        <p:nvSpPr>
          <p:cNvPr id="9" name="Rektangel 8">
            <a:extLst>
              <a:ext uri="{FF2B5EF4-FFF2-40B4-BE49-F238E27FC236}">
                <a16:creationId xmlns:a16="http://schemas.microsoft.com/office/drawing/2014/main" id="{113D54B3-3F29-493D-B9C7-8FF2C8DE3569}"/>
              </a:ext>
            </a:extLst>
          </p:cNvPr>
          <p:cNvSpPr/>
          <p:nvPr userDrawn="1"/>
        </p:nvSpPr>
        <p:spPr>
          <a:xfrm>
            <a:off x="0" y="6112042"/>
            <a:ext cx="12192000" cy="74595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Platshållare för rubrik 1">
            <a:extLst>
              <a:ext uri="{FF2B5EF4-FFF2-40B4-BE49-F238E27FC236}">
                <a16:creationId xmlns:a16="http://schemas.microsoft.com/office/drawing/2014/main" id="{DC7C7845-42F2-47E4-96D5-7F5977D34261}"/>
              </a:ext>
            </a:extLst>
          </p:cNvPr>
          <p:cNvSpPr>
            <a:spLocks noGrp="1"/>
          </p:cNvSpPr>
          <p:nvPr>
            <p:ph type="title"/>
          </p:nvPr>
        </p:nvSpPr>
        <p:spPr>
          <a:xfrm>
            <a:off x="874296" y="84221"/>
            <a:ext cx="10515600" cy="1149264"/>
          </a:xfrm>
          <a:prstGeom prst="rect">
            <a:avLst/>
          </a:prstGeom>
        </p:spPr>
        <p:txBody>
          <a:bodyPr vert="horz" lIns="0" tIns="0" rIns="0" bIns="0" rtlCol="0" anchor="b" anchorCtr="0">
            <a:noAutofit/>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E2B6E503-A6AE-440E-9524-D5848DBA3FED}"/>
              </a:ext>
            </a:extLst>
          </p:cNvPr>
          <p:cNvSpPr>
            <a:spLocks noGrp="1"/>
          </p:cNvSpPr>
          <p:nvPr>
            <p:ph type="body" idx="1"/>
          </p:nvPr>
        </p:nvSpPr>
        <p:spPr>
          <a:xfrm>
            <a:off x="922424" y="1693273"/>
            <a:ext cx="10459450" cy="3564527"/>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sidfot 4">
            <a:extLst>
              <a:ext uri="{FF2B5EF4-FFF2-40B4-BE49-F238E27FC236}">
                <a16:creationId xmlns:a16="http://schemas.microsoft.com/office/drawing/2014/main" id="{683F6A5D-1C51-4365-ABBC-26E2E26DE459}"/>
              </a:ext>
            </a:extLst>
          </p:cNvPr>
          <p:cNvSpPr>
            <a:spLocks noGrp="1"/>
          </p:cNvSpPr>
          <p:nvPr>
            <p:ph type="ftr" sz="quarter" idx="3"/>
          </p:nvPr>
        </p:nvSpPr>
        <p:spPr>
          <a:xfrm>
            <a:off x="711722" y="6311973"/>
            <a:ext cx="4114800" cy="365125"/>
          </a:xfrm>
          <a:prstGeom prst="rect">
            <a:avLst/>
          </a:prstGeom>
        </p:spPr>
        <p:txBody>
          <a:bodyPr vert="horz" lIns="0" tIns="0" rIns="0" bIns="0" rtlCol="0" anchor="ctr"/>
          <a:lstStyle>
            <a:lvl1pPr algn="l">
              <a:defRPr sz="1050" b="0">
                <a:solidFill>
                  <a:schemeClr val="bg1"/>
                </a:solidFill>
              </a:defRPr>
            </a:lvl1pPr>
          </a:lstStyle>
          <a:p>
            <a:endParaRPr lang="sv-SE"/>
          </a:p>
        </p:txBody>
      </p:sp>
      <p:sp>
        <p:nvSpPr>
          <p:cNvPr id="6" name="Platshållare för bildnummer 5">
            <a:extLst>
              <a:ext uri="{FF2B5EF4-FFF2-40B4-BE49-F238E27FC236}">
                <a16:creationId xmlns:a16="http://schemas.microsoft.com/office/drawing/2014/main" id="{CE1800B5-0CC4-499E-AD85-61BE4A07F5EB}"/>
              </a:ext>
            </a:extLst>
          </p:cNvPr>
          <p:cNvSpPr>
            <a:spLocks noGrp="1"/>
          </p:cNvSpPr>
          <p:nvPr>
            <p:ph type="sldNum" sz="quarter" idx="4"/>
          </p:nvPr>
        </p:nvSpPr>
        <p:spPr>
          <a:xfrm>
            <a:off x="276721" y="6311994"/>
            <a:ext cx="390055" cy="365125"/>
          </a:xfrm>
          <a:prstGeom prst="rect">
            <a:avLst/>
          </a:prstGeom>
        </p:spPr>
        <p:txBody>
          <a:bodyPr vert="horz" lIns="91440" tIns="45720" rIns="91440" bIns="45720" rtlCol="0" anchor="ctr"/>
          <a:lstStyle>
            <a:lvl1pPr algn="r">
              <a:defRPr sz="1050">
                <a:solidFill>
                  <a:schemeClr val="bg1"/>
                </a:solidFill>
              </a:defRPr>
            </a:lvl1pPr>
          </a:lstStyle>
          <a:p>
            <a:fld id="{7FF155A8-5C6D-4241-95DF-81E4F2B16EE5}" type="slidenum">
              <a:rPr lang="sv-SE" smtClean="0"/>
              <a:pPr/>
              <a:t>‹#›</a:t>
            </a:fld>
            <a:endParaRPr lang="sv-SE"/>
          </a:p>
        </p:txBody>
      </p:sp>
      <p:pic>
        <p:nvPicPr>
          <p:cNvPr id="7" name="Bildobjekt 6">
            <a:extLst>
              <a:ext uri="{FF2B5EF4-FFF2-40B4-BE49-F238E27FC236}">
                <a16:creationId xmlns:a16="http://schemas.microsoft.com/office/drawing/2014/main" id="{DEAFFFF7-0E10-4F4B-9970-4B0EEECA8447}"/>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979317" y="6316726"/>
            <a:ext cx="811630" cy="329318"/>
          </a:xfrm>
          <a:prstGeom prst="rect">
            <a:avLst/>
          </a:prstGeom>
        </p:spPr>
      </p:pic>
      <p:cxnSp>
        <p:nvCxnSpPr>
          <p:cNvPr id="16" name="Rak koppling 15">
            <a:extLst>
              <a:ext uri="{FF2B5EF4-FFF2-40B4-BE49-F238E27FC236}">
                <a16:creationId xmlns:a16="http://schemas.microsoft.com/office/drawing/2014/main" id="{FB36DCB9-B0BC-4692-9E94-7E0F650AAE02}"/>
              </a:ext>
            </a:extLst>
          </p:cNvPr>
          <p:cNvCxnSpPr>
            <a:cxnSpLocks/>
          </p:cNvCxnSpPr>
          <p:nvPr userDrawn="1"/>
        </p:nvCxnSpPr>
        <p:spPr>
          <a:xfrm flipH="1">
            <a:off x="642809" y="6450806"/>
            <a:ext cx="16637" cy="8133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Rektangel 3">
            <a:extLst>
              <a:ext uri="{FF2B5EF4-FFF2-40B4-BE49-F238E27FC236}">
                <a16:creationId xmlns:a16="http://schemas.microsoft.com/office/drawing/2014/main" id="{EB9E73E2-B998-4067-931F-01E9716BB421}"/>
              </a:ext>
            </a:extLst>
          </p:cNvPr>
          <p:cNvSpPr/>
          <p:nvPr userDrawn="1"/>
        </p:nvSpPr>
        <p:spPr>
          <a:xfrm>
            <a:off x="-2575249" y="841599"/>
            <a:ext cx="2447663" cy="861774"/>
          </a:xfrm>
          <a:prstGeom prst="rect">
            <a:avLst/>
          </a:prstGeom>
        </p:spPr>
        <p:txBody>
          <a:bodyPr wrap="square">
            <a:spAutoFit/>
          </a:bodyPr>
          <a:lstStyle/>
          <a:p>
            <a:pPr algn="r">
              <a:spcAft>
                <a:spcPts val="0"/>
              </a:spcAft>
            </a:pPr>
            <a:r>
              <a:rPr lang="sv-SE" sz="1000">
                <a:effectLst/>
                <a:latin typeface="Calibri" panose="020F0502020204030204" pitchFamily="34" charset="0"/>
                <a:ea typeface="Calibri" panose="020F0502020204030204" pitchFamily="34" charset="0"/>
              </a:rPr>
              <a:t>Varje rubrik inleds </a:t>
            </a:r>
            <a:r>
              <a:rPr lang="sv-SE" sz="1000">
                <a:solidFill>
                  <a:schemeClr val="accent1"/>
                </a:solidFill>
                <a:effectLst/>
                <a:latin typeface="Calibri" panose="020F0502020204030204" pitchFamily="34" charset="0"/>
                <a:ea typeface="Calibri" panose="020F0502020204030204" pitchFamily="34" charset="0"/>
              </a:rPr>
              <a:t>med ljusare röd</a:t>
            </a:r>
            <a:r>
              <a:rPr lang="sv-SE" sz="1000">
                <a:effectLst/>
                <a:latin typeface="Calibri" panose="020F0502020204030204" pitchFamily="34" charset="0"/>
                <a:ea typeface="Calibri" panose="020F0502020204030204" pitchFamily="34" charset="0"/>
              </a:rPr>
              <a:t> se bild. (Bild på inringad färg i paletten)</a:t>
            </a:r>
          </a:p>
          <a:p>
            <a:pPr algn="r">
              <a:spcAft>
                <a:spcPts val="0"/>
              </a:spcAft>
            </a:pPr>
            <a:endParaRPr lang="sv-SE" sz="1000">
              <a:effectLst/>
              <a:latin typeface="Calibri" panose="020F0502020204030204" pitchFamily="34" charset="0"/>
              <a:ea typeface="Calibri" panose="020F0502020204030204" pitchFamily="34" charset="0"/>
            </a:endParaRPr>
          </a:p>
          <a:p>
            <a:pPr algn="r">
              <a:spcAft>
                <a:spcPts val="0"/>
              </a:spcAft>
            </a:pPr>
            <a:r>
              <a:rPr lang="sv-SE" sz="1000">
                <a:effectLst/>
                <a:latin typeface="Calibri" panose="020F0502020204030204" pitchFamily="34" charset="0"/>
                <a:ea typeface="Calibri" panose="020F0502020204030204" pitchFamily="34" charset="0"/>
              </a:rPr>
              <a:t>Detta måste göras manuellt genom att markera texten.</a:t>
            </a:r>
          </a:p>
        </p:txBody>
      </p:sp>
      <p:pic>
        <p:nvPicPr>
          <p:cNvPr id="10" name="Bildobjekt 9">
            <a:extLst>
              <a:ext uri="{FF2B5EF4-FFF2-40B4-BE49-F238E27FC236}">
                <a16:creationId xmlns:a16="http://schemas.microsoft.com/office/drawing/2014/main" id="{4857C6E5-A5AF-4290-829D-C981D052ABE1}"/>
              </a:ext>
            </a:extLst>
          </p:cNvP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1940767" y="1808804"/>
            <a:ext cx="1685925" cy="628650"/>
          </a:xfrm>
          <a:prstGeom prst="rect">
            <a:avLst/>
          </a:prstGeom>
        </p:spPr>
      </p:pic>
    </p:spTree>
    <p:extLst>
      <p:ext uri="{BB962C8B-B14F-4D97-AF65-F5344CB8AC3E}">
        <p14:creationId xmlns:p14="http://schemas.microsoft.com/office/powerpoint/2010/main" val="2358584115"/>
      </p:ext>
    </p:extLst>
  </p:cSld>
  <p:clrMap bg1="lt1" tx1="dk1" bg2="lt2" tx2="dk2" accent1="accent1" accent2="accent2" accent3="accent3" accent4="accent4" accent5="accent5" accent6="accent6" hlink="hlink" folHlink="folHlink"/>
  <p:sldLayoutIdLst>
    <p:sldLayoutId id="2147483649" r:id="rId1"/>
    <p:sldLayoutId id="2147483658" r:id="rId2"/>
    <p:sldLayoutId id="2147483651" r:id="rId3"/>
    <p:sldLayoutId id="2147483659" r:id="rId4"/>
    <p:sldLayoutId id="2147483656" r:id="rId5"/>
    <p:sldLayoutId id="2147483657" r:id="rId6"/>
    <p:sldLayoutId id="2147483660" r:id="rId7"/>
    <p:sldLayoutId id="2147483653" r:id="rId8"/>
    <p:sldLayoutId id="2147483654" r:id="rId9"/>
    <p:sldLayoutId id="2147483650" r:id="rId10"/>
    <p:sldLayoutId id="2147483652" r:id="rId11"/>
    <p:sldLayoutId id="2147483655" r:id="rId12"/>
    <p:sldLayoutId id="2147483661"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3400" b="1" kern="1200" spc="-150">
          <a:solidFill>
            <a:schemeClr val="accent2"/>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inera.atlassian.net/wiki/spaces/OSOB/pages/464356802/Vad+har+vi+nationellt+arbetat+med" TargetMode="Externa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svg"/><Relationship Id="rId7" Type="http://schemas.openxmlformats.org/officeDocument/2006/relationships/image" Target="../media/image10.svg"/><Relationship Id="rId2" Type="http://schemas.openxmlformats.org/officeDocument/2006/relationships/image" Target="../media/image5.png"/><Relationship Id="rId1" Type="http://schemas.openxmlformats.org/officeDocument/2006/relationships/slideLayout" Target="../slideLayouts/slideLayout13.xml"/><Relationship Id="rId6" Type="http://schemas.openxmlformats.org/officeDocument/2006/relationships/image" Target="../media/image9.png"/><Relationship Id="rId5" Type="http://schemas.openxmlformats.org/officeDocument/2006/relationships/image" Target="../media/image8.svg"/><Relationship Id="rId4" Type="http://schemas.openxmlformats.org/officeDocument/2006/relationships/image" Target="../media/image7.png"/><Relationship Id="rId9" Type="http://schemas.openxmlformats.org/officeDocument/2006/relationships/image" Target="../media/image12.sv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hyperlink" Target="mailto:e-tjanster@1177.se" TargetMode="External"/><Relationship Id="rId2" Type="http://schemas.openxmlformats.org/officeDocument/2006/relationships/image" Target="../media/image14.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6573EA7-C0D5-4A99-856B-5428F6A2DAB2}"/>
              </a:ext>
            </a:extLst>
          </p:cNvPr>
          <p:cNvSpPr>
            <a:spLocks noGrp="1"/>
          </p:cNvSpPr>
          <p:nvPr>
            <p:ph type="ctrTitle"/>
          </p:nvPr>
        </p:nvSpPr>
        <p:spPr>
          <a:xfrm>
            <a:off x="1524000" y="2235200"/>
            <a:ext cx="9144000" cy="2387600"/>
          </a:xfrm>
        </p:spPr>
        <p:txBody>
          <a:bodyPr/>
          <a:lstStyle/>
          <a:p>
            <a:r>
              <a:rPr lang="sv-SE">
                <a:solidFill>
                  <a:schemeClr val="accent1"/>
                </a:solidFill>
              </a:rPr>
              <a:t>Användarforum </a:t>
            </a:r>
            <a:br>
              <a:rPr lang="sv-SE">
                <a:solidFill>
                  <a:schemeClr val="accent1"/>
                </a:solidFill>
              </a:rPr>
            </a:br>
            <a:r>
              <a:rPr lang="sv-SE" sz="1200">
                <a:solidFill>
                  <a:schemeClr val="accent1"/>
                </a:solidFill>
              </a:rPr>
              <a:t> </a:t>
            </a:r>
            <a:br>
              <a:rPr lang="sv-SE">
                <a:solidFill>
                  <a:schemeClr val="accent1"/>
                </a:solidFill>
              </a:rPr>
            </a:br>
            <a:r>
              <a:rPr lang="sv-SE" sz="3600">
                <a:solidFill>
                  <a:schemeClr val="accent1"/>
                </a:solidFill>
              </a:rPr>
              <a:t>Stöd och behandling</a:t>
            </a:r>
            <a:endParaRPr lang="sv-SE"/>
          </a:p>
        </p:txBody>
      </p:sp>
      <p:sp>
        <p:nvSpPr>
          <p:cNvPr id="4" name="Underrubrik 3">
            <a:extLst>
              <a:ext uri="{FF2B5EF4-FFF2-40B4-BE49-F238E27FC236}">
                <a16:creationId xmlns:a16="http://schemas.microsoft.com/office/drawing/2014/main" id="{7C3A8192-81A1-4B54-8CE2-055E1C43C19C}"/>
              </a:ext>
            </a:extLst>
          </p:cNvPr>
          <p:cNvSpPr>
            <a:spLocks noGrp="1"/>
          </p:cNvSpPr>
          <p:nvPr>
            <p:ph type="subTitle" idx="1"/>
          </p:nvPr>
        </p:nvSpPr>
        <p:spPr/>
        <p:txBody>
          <a:bodyPr/>
          <a:lstStyle/>
          <a:p>
            <a:r>
              <a:rPr lang="sv-SE"/>
              <a:t>2020-10-23</a:t>
            </a:r>
          </a:p>
        </p:txBody>
      </p:sp>
    </p:spTree>
    <p:extLst>
      <p:ext uri="{BB962C8B-B14F-4D97-AF65-F5344CB8AC3E}">
        <p14:creationId xmlns:p14="http://schemas.microsoft.com/office/powerpoint/2010/main" val="30679398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1F6A61D0-C9A9-4590-A7BC-2BC87D50447B}"/>
              </a:ext>
            </a:extLst>
          </p:cNvPr>
          <p:cNvSpPr>
            <a:spLocks noGrp="1"/>
          </p:cNvSpPr>
          <p:nvPr>
            <p:ph type="title"/>
          </p:nvPr>
        </p:nvSpPr>
        <p:spPr/>
        <p:txBody>
          <a:bodyPr/>
          <a:lstStyle/>
          <a:p>
            <a:r>
              <a:rPr lang="sv-SE"/>
              <a:t>Regional support vänder sig till nationell support</a:t>
            </a:r>
          </a:p>
        </p:txBody>
      </p:sp>
      <p:sp>
        <p:nvSpPr>
          <p:cNvPr id="4" name="Underrubrik 3">
            <a:extLst>
              <a:ext uri="{FF2B5EF4-FFF2-40B4-BE49-F238E27FC236}">
                <a16:creationId xmlns:a16="http://schemas.microsoft.com/office/drawing/2014/main" id="{A3D50747-90DD-46B2-8D52-B5AEBF58670C}"/>
              </a:ext>
            </a:extLst>
          </p:cNvPr>
          <p:cNvSpPr>
            <a:spLocks noGrp="1"/>
          </p:cNvSpPr>
          <p:nvPr>
            <p:ph idx="1"/>
          </p:nvPr>
        </p:nvSpPr>
        <p:spPr>
          <a:xfrm>
            <a:off x="495393" y="1549863"/>
            <a:ext cx="5745625" cy="3564527"/>
          </a:xfrm>
        </p:spPr>
        <p:txBody>
          <a:bodyPr vert="horz" lIns="0" tIns="0" rIns="0" bIns="0" rtlCol="0" anchor="t">
            <a:noAutofit/>
          </a:bodyPr>
          <a:lstStyle/>
          <a:p>
            <a:pPr marL="0" indent="0">
              <a:buNone/>
            </a:pPr>
            <a:r>
              <a:rPr lang="sv-SE" b="1" dirty="0">
                <a:ea typeface="+mn-lt"/>
                <a:cs typeface="+mn-lt"/>
              </a:rPr>
              <a:t>Felanmälningar </a:t>
            </a:r>
          </a:p>
          <a:p>
            <a:r>
              <a:rPr lang="sv-SE" dirty="0">
                <a:ea typeface="+mn-lt"/>
                <a:cs typeface="+mn-lt"/>
              </a:rPr>
              <a:t>Tydlig och strukturerad information om vad som är fel</a:t>
            </a:r>
            <a:endParaRPr lang="sv-SE" dirty="0"/>
          </a:p>
          <a:p>
            <a:pPr lvl="1"/>
            <a:r>
              <a:rPr lang="sv-SE" dirty="0">
                <a:ea typeface="+mn-lt"/>
                <a:cs typeface="+mn-lt"/>
              </a:rPr>
              <a:t>Vilken funktion? (ex. Vilket steg/formulär/flagga)</a:t>
            </a:r>
          </a:p>
          <a:p>
            <a:pPr lvl="1"/>
            <a:r>
              <a:rPr lang="sv-SE" dirty="0">
                <a:ea typeface="+mn-lt"/>
                <a:cs typeface="+mn-lt"/>
              </a:rPr>
              <a:t>Vilka inställningar/egenskaper har formuläret/flaggan?</a:t>
            </a:r>
          </a:p>
          <a:p>
            <a:pPr lvl="1"/>
            <a:r>
              <a:rPr lang="sv-SE" dirty="0">
                <a:ea typeface="+mn-lt"/>
                <a:cs typeface="+mn-lt"/>
              </a:rPr>
              <a:t>Vilket moment? (namn + versionsnummer + utgivarenheten)</a:t>
            </a:r>
          </a:p>
          <a:p>
            <a:pPr lvl="1"/>
            <a:r>
              <a:rPr lang="sv-SE" dirty="0">
                <a:ea typeface="+mn-lt"/>
                <a:cs typeface="+mn-lt"/>
              </a:rPr>
              <a:t>Hur många användare är drabbade?</a:t>
            </a:r>
          </a:p>
          <a:p>
            <a:pPr lvl="1"/>
            <a:r>
              <a:rPr lang="sv-SE" dirty="0">
                <a:ea typeface="+mn-lt"/>
                <a:cs typeface="+mn-lt"/>
              </a:rPr>
              <a:t>Hur många gånger har felet uppstått?</a:t>
            </a:r>
          </a:p>
          <a:p>
            <a:pPr lvl="1"/>
            <a:r>
              <a:rPr lang="sv-SE" dirty="0" err="1">
                <a:ea typeface="+mn-lt"/>
                <a:cs typeface="+mn-lt"/>
              </a:rPr>
              <a:t>Skärmdumpar</a:t>
            </a:r>
            <a:r>
              <a:rPr lang="sv-SE" dirty="0">
                <a:ea typeface="+mn-lt"/>
                <a:cs typeface="+mn-lt"/>
              </a:rPr>
              <a:t> (klockslag + datum + adressfält)</a:t>
            </a:r>
          </a:p>
          <a:p>
            <a:pPr lvl="1"/>
            <a:r>
              <a:rPr lang="sv-SE" dirty="0">
                <a:solidFill>
                  <a:srgbClr val="6A0032"/>
                </a:solidFill>
              </a:rPr>
              <a:t>Ange att ni tillhör den regionala supporten. </a:t>
            </a:r>
          </a:p>
          <a:p>
            <a:pPr lvl="1"/>
            <a:endParaRPr lang="sv-SE">
              <a:ea typeface="+mn-lt"/>
              <a:cs typeface="+mn-lt"/>
            </a:endParaRPr>
          </a:p>
          <a:p>
            <a:pPr marL="0" indent="0">
              <a:buNone/>
            </a:pPr>
            <a:r>
              <a:rPr lang="sv-SE" sz="1600" dirty="0">
                <a:ea typeface="+mn-lt"/>
                <a:cs typeface="+mn-lt"/>
              </a:rPr>
              <a:t>Vi förstår att det kan vara problematiskt för er att få denna information från vårdpersonal då deras tid är mycket begränsad men sådan information är en grundförutsättning för att vi ska kunna förstå problemet, lokalisera det och slutligen åtgärda det. </a:t>
            </a:r>
          </a:p>
          <a:p>
            <a:endParaRPr lang="sv-SE">
              <a:solidFill>
                <a:srgbClr val="6A0032"/>
              </a:solidFill>
            </a:endParaRPr>
          </a:p>
          <a:p>
            <a:endParaRPr lang="sv-SE">
              <a:solidFill>
                <a:srgbClr val="FF0000"/>
              </a:solidFill>
            </a:endParaRPr>
          </a:p>
        </p:txBody>
      </p:sp>
      <p:sp>
        <p:nvSpPr>
          <p:cNvPr id="7" name="Underrubrik 3">
            <a:extLst>
              <a:ext uri="{FF2B5EF4-FFF2-40B4-BE49-F238E27FC236}">
                <a16:creationId xmlns:a16="http://schemas.microsoft.com/office/drawing/2014/main" id="{8713E689-BD7A-4C25-B53E-EE9441DA6417}"/>
              </a:ext>
            </a:extLst>
          </p:cNvPr>
          <p:cNvSpPr txBox="1">
            <a:spLocks/>
          </p:cNvSpPr>
          <p:nvPr/>
        </p:nvSpPr>
        <p:spPr>
          <a:xfrm>
            <a:off x="6525594" y="1553944"/>
            <a:ext cx="5106889" cy="3564527"/>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sv-SE" b="1" dirty="0">
                <a:ea typeface="+mn-lt"/>
                <a:cs typeface="+mn-lt"/>
              </a:rPr>
              <a:t>Anslutningsblanketter för privata vårdgivare</a:t>
            </a:r>
          </a:p>
          <a:p>
            <a:r>
              <a:rPr lang="sv-SE" dirty="0">
                <a:ea typeface="+mn-lt"/>
                <a:cs typeface="+mn-lt"/>
              </a:rPr>
              <a:t>Rätt version av blanketten </a:t>
            </a:r>
            <a:endParaRPr lang="sv-SE" dirty="0"/>
          </a:p>
          <a:p>
            <a:pPr lvl="1"/>
            <a:r>
              <a:rPr lang="sv-SE" dirty="0">
                <a:ea typeface="+mn-lt"/>
                <a:cs typeface="+mn-lt"/>
              </a:rPr>
              <a:t>Senaste versionen finns på Inera.se </a:t>
            </a:r>
            <a:endParaRPr lang="sv-SE" dirty="0">
              <a:solidFill>
                <a:srgbClr val="6A0032"/>
              </a:solidFill>
            </a:endParaRPr>
          </a:p>
          <a:p>
            <a:r>
              <a:rPr lang="sv-SE" dirty="0">
                <a:ea typeface="+mn-lt"/>
                <a:cs typeface="+mn-lt"/>
              </a:rPr>
              <a:t>Fyll i blanketten korrekt </a:t>
            </a:r>
          </a:p>
          <a:p>
            <a:pPr lvl="1"/>
            <a:r>
              <a:rPr lang="sv-SE" dirty="0">
                <a:ea typeface="+mn-lt"/>
                <a:cs typeface="+mn-lt"/>
              </a:rPr>
              <a:t>Ange korrekt namn och HSA-id på vårdgivaren </a:t>
            </a:r>
          </a:p>
          <a:p>
            <a:pPr lvl="1"/>
            <a:r>
              <a:rPr lang="sv-SE" dirty="0">
                <a:ea typeface="+mn-lt"/>
                <a:cs typeface="+mn-lt"/>
              </a:rPr>
              <a:t>Ange korrekt namn och HSA-id på vårdenheten </a:t>
            </a:r>
          </a:p>
          <a:p>
            <a:pPr lvl="1"/>
            <a:r>
              <a:rPr lang="sv-SE" dirty="0">
                <a:ea typeface="+mn-lt"/>
                <a:cs typeface="+mn-lt"/>
              </a:rPr>
              <a:t>Underskrift av regionalt ansvarig</a:t>
            </a:r>
          </a:p>
          <a:p>
            <a:r>
              <a:rPr lang="sv-SE" sz="1600" dirty="0">
                <a:ea typeface="+mn-lt"/>
                <a:cs typeface="+mn-lt"/>
              </a:rPr>
              <a:t>Problem vid anslutningen </a:t>
            </a:r>
            <a:endParaRPr lang="en-US" sz="1600" dirty="0">
              <a:ea typeface="+mn-lt"/>
              <a:cs typeface="+mn-lt"/>
            </a:endParaRPr>
          </a:p>
          <a:p>
            <a:pPr lvl="1"/>
            <a:r>
              <a:rPr lang="sv-SE" dirty="0">
                <a:ea typeface="+mn-lt"/>
                <a:cs typeface="+mn-lt"/>
              </a:rPr>
              <a:t>Måste hanteras regionalt</a:t>
            </a:r>
          </a:p>
          <a:p>
            <a:pPr lvl="1"/>
            <a:endParaRPr lang="sv-SE">
              <a:solidFill>
                <a:srgbClr val="6A0032"/>
              </a:solidFill>
            </a:endParaRPr>
          </a:p>
          <a:p>
            <a:pPr marL="457200" lvl="1" indent="0">
              <a:buNone/>
            </a:pPr>
            <a:r>
              <a:rPr lang="sv-SE" dirty="0">
                <a:solidFill>
                  <a:srgbClr val="6A0032"/>
                </a:solidFill>
              </a:rPr>
              <a:t>. </a:t>
            </a:r>
          </a:p>
          <a:p>
            <a:endParaRPr lang="sv-SE">
              <a:solidFill>
                <a:srgbClr val="6A0032"/>
              </a:solidFill>
            </a:endParaRPr>
          </a:p>
          <a:p>
            <a:endParaRPr lang="sv-SE">
              <a:solidFill>
                <a:srgbClr val="FF0000"/>
              </a:solidFill>
            </a:endParaRPr>
          </a:p>
        </p:txBody>
      </p:sp>
    </p:spTree>
    <p:extLst>
      <p:ext uri="{BB962C8B-B14F-4D97-AF65-F5344CB8AC3E}">
        <p14:creationId xmlns:p14="http://schemas.microsoft.com/office/powerpoint/2010/main" val="3621122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EA8EE2D-26E4-4F37-825E-E85E830A588D}"/>
              </a:ext>
            </a:extLst>
          </p:cNvPr>
          <p:cNvSpPr>
            <a:spLocks noGrp="1"/>
          </p:cNvSpPr>
          <p:nvPr>
            <p:ph type="title"/>
          </p:nvPr>
        </p:nvSpPr>
        <p:spPr/>
        <p:txBody>
          <a:bodyPr/>
          <a:lstStyle/>
          <a:p>
            <a:r>
              <a:rPr lang="sv-SE"/>
              <a:t>Hypotetiskt supportflöde </a:t>
            </a:r>
          </a:p>
        </p:txBody>
      </p:sp>
      <p:sp>
        <p:nvSpPr>
          <p:cNvPr id="3" name="Platshållare för innehåll 2">
            <a:extLst>
              <a:ext uri="{FF2B5EF4-FFF2-40B4-BE49-F238E27FC236}">
                <a16:creationId xmlns:a16="http://schemas.microsoft.com/office/drawing/2014/main" id="{DD9924C0-F0EC-45BF-8C30-3AA8ED38146D}"/>
              </a:ext>
            </a:extLst>
          </p:cNvPr>
          <p:cNvSpPr>
            <a:spLocks noGrp="1"/>
          </p:cNvSpPr>
          <p:nvPr>
            <p:ph idx="1"/>
          </p:nvPr>
        </p:nvSpPr>
        <p:spPr>
          <a:xfrm>
            <a:off x="873750" y="2119096"/>
            <a:ext cx="5958536" cy="1816411"/>
          </a:xfrm>
        </p:spPr>
        <p:txBody>
          <a:bodyPr vert="horz" lIns="0" tIns="0" rIns="0" bIns="0" rtlCol="0" anchor="t">
            <a:noAutofit/>
          </a:bodyPr>
          <a:lstStyle/>
          <a:p>
            <a:pPr marL="0" indent="0">
              <a:buNone/>
            </a:pPr>
            <a:r>
              <a:rPr lang="sv-SE" dirty="0"/>
              <a:t>Felanmälan inkommer </a:t>
            </a:r>
          </a:p>
          <a:p>
            <a:pPr lvl="1"/>
            <a:r>
              <a:rPr lang="sv-SE" dirty="0"/>
              <a:t>Ostrukturerat, saknar tid och datum för fel samt tydlig förklaring om vart i momentet det uppstår ett fel. </a:t>
            </a:r>
          </a:p>
          <a:p>
            <a:pPr lvl="1"/>
            <a:r>
              <a:rPr lang="sv-SE" dirty="0"/>
              <a:t>Mejlkorrespondens uppstår </a:t>
            </a:r>
          </a:p>
          <a:p>
            <a:pPr lvl="1"/>
            <a:r>
              <a:rPr lang="sv-SE" dirty="0"/>
              <a:t>1 timme effektiv tid på ärendet</a:t>
            </a:r>
          </a:p>
        </p:txBody>
      </p:sp>
      <p:sp>
        <p:nvSpPr>
          <p:cNvPr id="4" name="Platshållare för sidfot 3">
            <a:extLst>
              <a:ext uri="{FF2B5EF4-FFF2-40B4-BE49-F238E27FC236}">
                <a16:creationId xmlns:a16="http://schemas.microsoft.com/office/drawing/2014/main" id="{CFAA3FD7-E5FF-43FA-B33B-43A72248886E}"/>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3E8F9ACC-6AFA-4037-92D8-C045E2D0BBA3}"/>
              </a:ext>
            </a:extLst>
          </p:cNvPr>
          <p:cNvSpPr>
            <a:spLocks noGrp="1"/>
          </p:cNvSpPr>
          <p:nvPr>
            <p:ph type="sldNum" sz="quarter" idx="12"/>
          </p:nvPr>
        </p:nvSpPr>
        <p:spPr/>
        <p:txBody>
          <a:bodyPr/>
          <a:lstStyle/>
          <a:p>
            <a:fld id="{7FF155A8-5C6D-4241-95DF-81E4F2B16EE5}" type="slidenum">
              <a:rPr lang="sv-SE" smtClean="0"/>
              <a:t>11</a:t>
            </a:fld>
            <a:endParaRPr lang="sv-SE"/>
          </a:p>
        </p:txBody>
      </p:sp>
      <p:pic>
        <p:nvPicPr>
          <p:cNvPr id="7" name="Bildobjekt 7" descr="En bild som visar text, tecken, klocka&#10;&#10;Automatiskt genererad beskrivning">
            <a:extLst>
              <a:ext uri="{FF2B5EF4-FFF2-40B4-BE49-F238E27FC236}">
                <a16:creationId xmlns:a16="http://schemas.microsoft.com/office/drawing/2014/main" id="{6BBEE294-C75C-4D4E-AFEB-88DD030EB43E}"/>
              </a:ext>
            </a:extLst>
          </p:cNvPr>
          <p:cNvPicPr>
            <a:picLocks noGrp="1" noChangeAspect="1"/>
          </p:cNvPicPr>
          <p:nvPr>
            <p:ph type="pic" sz="quarter" idx="13"/>
          </p:nvPr>
        </p:nvPicPr>
        <p:blipFill rotWithShape="1">
          <a:blip r:embed="rId2"/>
          <a:srcRect t="4867" b="4867"/>
          <a:stretch/>
        </p:blipFill>
        <p:spPr>
          <a:xfrm>
            <a:off x="7176714" y="1574427"/>
            <a:ext cx="4110037" cy="3709988"/>
          </a:xfrm>
        </p:spPr>
      </p:pic>
      <p:sp>
        <p:nvSpPr>
          <p:cNvPr id="10" name="Platshållare för innehåll 2">
            <a:extLst>
              <a:ext uri="{FF2B5EF4-FFF2-40B4-BE49-F238E27FC236}">
                <a16:creationId xmlns:a16="http://schemas.microsoft.com/office/drawing/2014/main" id="{2C5807B5-C025-420C-8C65-F3258AFFF2C8}"/>
              </a:ext>
            </a:extLst>
          </p:cNvPr>
          <p:cNvSpPr txBox="1">
            <a:spLocks/>
          </p:cNvSpPr>
          <p:nvPr/>
        </p:nvSpPr>
        <p:spPr>
          <a:xfrm>
            <a:off x="1429563" y="4445437"/>
            <a:ext cx="3997507" cy="763059"/>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sv-SE" sz="3600" b="1">
                <a:solidFill>
                  <a:srgbClr val="FF0000"/>
                </a:solidFill>
              </a:rPr>
              <a:t>21 regioner! </a:t>
            </a:r>
            <a:endParaRPr lang="sv-SE"/>
          </a:p>
        </p:txBody>
      </p:sp>
    </p:spTree>
    <p:extLst>
      <p:ext uri="{BB962C8B-B14F-4D97-AF65-F5344CB8AC3E}">
        <p14:creationId xmlns:p14="http://schemas.microsoft.com/office/powerpoint/2010/main" val="2323421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9EB3CFE1-F39D-446E-B115-CC061C531BAC}"/>
              </a:ext>
            </a:extLst>
          </p:cNvPr>
          <p:cNvSpPr>
            <a:spLocks noGrp="1"/>
          </p:cNvSpPr>
          <p:nvPr>
            <p:ph type="title"/>
          </p:nvPr>
        </p:nvSpPr>
        <p:spPr>
          <a:xfrm>
            <a:off x="874296" y="84221"/>
            <a:ext cx="10515600" cy="1149264"/>
          </a:xfrm>
        </p:spPr>
        <p:txBody>
          <a:bodyPr/>
          <a:lstStyle/>
          <a:p>
            <a:r>
              <a:rPr lang="sv-SE">
                <a:ea typeface="+mj-lt"/>
                <a:cs typeface="+mj-lt"/>
              </a:rPr>
              <a:t>Hypotetiskt supportflöde </a:t>
            </a:r>
            <a:endParaRPr lang="sv-SE"/>
          </a:p>
        </p:txBody>
      </p:sp>
      <p:sp>
        <p:nvSpPr>
          <p:cNvPr id="21" name="Footer Placeholder 3">
            <a:extLst>
              <a:ext uri="{FF2B5EF4-FFF2-40B4-BE49-F238E27FC236}">
                <a16:creationId xmlns:a16="http://schemas.microsoft.com/office/drawing/2014/main" id="{26FE609C-1F2B-4DE5-9E47-029DA1449C78}"/>
              </a:ext>
            </a:extLst>
          </p:cNvPr>
          <p:cNvSpPr>
            <a:spLocks noGrp="1"/>
          </p:cNvSpPr>
          <p:nvPr>
            <p:ph type="ftr" sz="quarter" idx="11"/>
          </p:nvPr>
        </p:nvSpPr>
        <p:spPr>
          <a:xfrm>
            <a:off x="711722" y="6311973"/>
            <a:ext cx="4114800" cy="365125"/>
          </a:xfrm>
        </p:spPr>
        <p:txBody>
          <a:bodyPr/>
          <a:lstStyle/>
          <a:p>
            <a:endParaRPr lang="sv-SE"/>
          </a:p>
        </p:txBody>
      </p:sp>
      <p:sp>
        <p:nvSpPr>
          <p:cNvPr id="5" name="Platshållare för bildnummer 4">
            <a:extLst>
              <a:ext uri="{FF2B5EF4-FFF2-40B4-BE49-F238E27FC236}">
                <a16:creationId xmlns:a16="http://schemas.microsoft.com/office/drawing/2014/main" id="{E19B1931-D2C7-4F0E-B57B-C7EF7A0944D7}"/>
              </a:ext>
            </a:extLst>
          </p:cNvPr>
          <p:cNvSpPr>
            <a:spLocks noGrp="1"/>
          </p:cNvSpPr>
          <p:nvPr>
            <p:ph type="sldNum" sz="quarter" idx="12"/>
          </p:nvPr>
        </p:nvSpPr>
        <p:spPr>
          <a:xfrm>
            <a:off x="276721" y="6311994"/>
            <a:ext cx="390055" cy="365125"/>
          </a:xfrm>
        </p:spPr>
        <p:txBody>
          <a:bodyPr anchor="ctr">
            <a:normAutofit/>
          </a:bodyPr>
          <a:lstStyle/>
          <a:p>
            <a:pPr>
              <a:spcAft>
                <a:spcPts val="600"/>
              </a:spcAft>
            </a:pPr>
            <a:fld id="{7FF155A8-5C6D-4241-95DF-81E4F2B16EE5}" type="slidenum">
              <a:rPr lang="sv-SE" smtClean="0"/>
              <a:pPr>
                <a:spcAft>
                  <a:spcPts val="600"/>
                </a:spcAft>
              </a:pPr>
              <a:t>12</a:t>
            </a:fld>
            <a:endParaRPr lang="sv-SE"/>
          </a:p>
        </p:txBody>
      </p:sp>
      <p:pic>
        <p:nvPicPr>
          <p:cNvPr id="17" name="Bildobjekt 17" descr="En bild som visar ritning, hylla&#10;&#10;Automatiskt genererad beskrivning">
            <a:extLst>
              <a:ext uri="{FF2B5EF4-FFF2-40B4-BE49-F238E27FC236}">
                <a16:creationId xmlns:a16="http://schemas.microsoft.com/office/drawing/2014/main" id="{692F7A28-DBE0-4D13-AC36-4011C28BD052}"/>
              </a:ext>
            </a:extLst>
          </p:cNvPr>
          <p:cNvPicPr>
            <a:picLocks noGrp="1" noChangeAspect="1"/>
          </p:cNvPicPr>
          <p:nvPr>
            <p:ph idx="1"/>
          </p:nvPr>
        </p:nvPicPr>
        <p:blipFill>
          <a:blip r:embed="rId2"/>
          <a:stretch>
            <a:fillRect/>
          </a:stretch>
        </p:blipFill>
        <p:spPr>
          <a:xfrm>
            <a:off x="1037469" y="1645655"/>
            <a:ext cx="9948581" cy="3420034"/>
          </a:xfrm>
          <a:prstGeom prst="rect">
            <a:avLst/>
          </a:prstGeom>
        </p:spPr>
      </p:pic>
      <p:sp>
        <p:nvSpPr>
          <p:cNvPr id="18" name="Title 1">
            <a:extLst>
              <a:ext uri="{FF2B5EF4-FFF2-40B4-BE49-F238E27FC236}">
                <a16:creationId xmlns:a16="http://schemas.microsoft.com/office/drawing/2014/main" id="{13B0F0BB-F091-44A4-BD79-840627F120E0}"/>
              </a:ext>
            </a:extLst>
          </p:cNvPr>
          <p:cNvSpPr txBox="1">
            <a:spLocks/>
          </p:cNvSpPr>
          <p:nvPr/>
        </p:nvSpPr>
        <p:spPr>
          <a:xfrm>
            <a:off x="2473638" y="2685295"/>
            <a:ext cx="6816904" cy="1149264"/>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3400" b="1" kern="1200" spc="-150">
                <a:solidFill>
                  <a:schemeClr val="accent2"/>
                </a:solidFill>
                <a:latin typeface="+mj-lt"/>
                <a:ea typeface="+mj-ea"/>
                <a:cs typeface="+mj-cs"/>
              </a:defRPr>
            </a:lvl1pPr>
          </a:lstStyle>
          <a:p>
            <a:pPr algn="ctr"/>
            <a:r>
              <a:rPr lang="sv-SE" sz="4800"/>
              <a:t>= 2,6 arbetsdagar</a:t>
            </a:r>
          </a:p>
        </p:txBody>
      </p:sp>
    </p:spTree>
    <p:extLst>
      <p:ext uri="{BB962C8B-B14F-4D97-AF65-F5344CB8AC3E}">
        <p14:creationId xmlns:p14="http://schemas.microsoft.com/office/powerpoint/2010/main" val="973537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17"/>
                                        </p:tgtEl>
                                        <p:attrNameLst>
                                          <p:attrName>style.visibility</p:attrName>
                                        </p:attrNameLst>
                                      </p:cBhvr>
                                      <p:to>
                                        <p:strVal val="hidden"/>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EA8EE2D-26E4-4F37-825E-E85E830A588D}"/>
              </a:ext>
            </a:extLst>
          </p:cNvPr>
          <p:cNvSpPr>
            <a:spLocks noGrp="1"/>
          </p:cNvSpPr>
          <p:nvPr>
            <p:ph type="title"/>
          </p:nvPr>
        </p:nvSpPr>
        <p:spPr/>
        <p:txBody>
          <a:bodyPr/>
          <a:lstStyle/>
          <a:p>
            <a:r>
              <a:rPr lang="sv-SE"/>
              <a:t>Hypotetiskt supportflöde </a:t>
            </a:r>
          </a:p>
        </p:txBody>
      </p:sp>
      <p:sp>
        <p:nvSpPr>
          <p:cNvPr id="3" name="Platshållare för innehåll 2">
            <a:extLst>
              <a:ext uri="{FF2B5EF4-FFF2-40B4-BE49-F238E27FC236}">
                <a16:creationId xmlns:a16="http://schemas.microsoft.com/office/drawing/2014/main" id="{DD9924C0-F0EC-45BF-8C30-3AA8ED38146D}"/>
              </a:ext>
            </a:extLst>
          </p:cNvPr>
          <p:cNvSpPr>
            <a:spLocks noGrp="1"/>
          </p:cNvSpPr>
          <p:nvPr>
            <p:ph idx="1"/>
          </p:nvPr>
        </p:nvSpPr>
        <p:spPr>
          <a:xfrm>
            <a:off x="471748" y="1695021"/>
            <a:ext cx="5958536" cy="3822202"/>
          </a:xfrm>
        </p:spPr>
        <p:txBody>
          <a:bodyPr vert="horz" lIns="0" tIns="0" rIns="0" bIns="0" rtlCol="0" anchor="t">
            <a:noAutofit/>
          </a:bodyPr>
          <a:lstStyle/>
          <a:p>
            <a:r>
              <a:rPr lang="sv-SE" dirty="0"/>
              <a:t>Nationell support ska finnas till att hjälpa </a:t>
            </a:r>
            <a:endParaRPr lang="sv-SE"/>
          </a:p>
          <a:p>
            <a:pPr lvl="1"/>
            <a:r>
              <a:rPr lang="sv-SE" dirty="0"/>
              <a:t>Onödig tid och energi som läggs ner på supportärenden, både för er och för oss. </a:t>
            </a:r>
          </a:p>
          <a:p>
            <a:pPr lvl="1"/>
            <a:r>
              <a:rPr lang="sv-SE" dirty="0"/>
              <a:t>Onödigt lång hanteringstid och väntan för den eller de som berörs av frågan</a:t>
            </a:r>
          </a:p>
          <a:p>
            <a:pPr lvl="1"/>
            <a:r>
              <a:rPr lang="sv-SE" dirty="0"/>
              <a:t>Den tid ni tar av oss för ostrukturerade supportärenden stjäl tid från era kollegor och deras behov</a:t>
            </a:r>
          </a:p>
          <a:p>
            <a:pPr lvl="1"/>
            <a:r>
              <a:rPr lang="sv-SE" dirty="0"/>
              <a:t>Stjäl även tid från er själva eftersom vi måste lägga tid och energi på supportärende som hade kunnat ägnats åt några av våra andra arbetsuppgifter som gynnar er. Exempelvis </a:t>
            </a:r>
            <a:r>
              <a:rPr lang="sv-SE" dirty="0">
                <a:ea typeface="+mn-lt"/>
                <a:cs typeface="+mn-lt"/>
                <a:hlinkClick r:id="rId2"/>
              </a:rPr>
              <a:t>Vad har vi nationellt arbetat med?</a:t>
            </a:r>
            <a:endParaRPr lang="sv-SE" dirty="0">
              <a:ea typeface="+mn-lt"/>
              <a:cs typeface="+mn-lt"/>
            </a:endParaRPr>
          </a:p>
          <a:p>
            <a:pPr lvl="1"/>
            <a:endParaRPr lang="sv-SE"/>
          </a:p>
        </p:txBody>
      </p:sp>
      <p:sp>
        <p:nvSpPr>
          <p:cNvPr id="4" name="Platshållare för sidfot 3">
            <a:extLst>
              <a:ext uri="{FF2B5EF4-FFF2-40B4-BE49-F238E27FC236}">
                <a16:creationId xmlns:a16="http://schemas.microsoft.com/office/drawing/2014/main" id="{CFAA3FD7-E5FF-43FA-B33B-43A72248886E}"/>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3E8F9ACC-6AFA-4037-92D8-C045E2D0BBA3}"/>
              </a:ext>
            </a:extLst>
          </p:cNvPr>
          <p:cNvSpPr>
            <a:spLocks noGrp="1"/>
          </p:cNvSpPr>
          <p:nvPr>
            <p:ph type="sldNum" sz="quarter" idx="12"/>
          </p:nvPr>
        </p:nvSpPr>
        <p:spPr/>
        <p:txBody>
          <a:bodyPr/>
          <a:lstStyle/>
          <a:p>
            <a:fld id="{7FF155A8-5C6D-4241-95DF-81E4F2B16EE5}" type="slidenum">
              <a:rPr lang="sv-SE" smtClean="0"/>
              <a:t>13</a:t>
            </a:fld>
            <a:endParaRPr lang="sv-SE"/>
          </a:p>
        </p:txBody>
      </p:sp>
      <p:pic>
        <p:nvPicPr>
          <p:cNvPr id="2054" name="Picture 6" descr="Tidstjuvar - Rötterbloggen">
            <a:extLst>
              <a:ext uri="{FF2B5EF4-FFF2-40B4-BE49-F238E27FC236}">
                <a16:creationId xmlns:a16="http://schemas.microsoft.com/office/drawing/2014/main" id="{B0AE7292-AA53-483F-B47F-5198427D8BB5}"/>
              </a:ext>
            </a:extLst>
          </p:cNvPr>
          <p:cNvPicPr>
            <a:picLocks noGrp="1" noChangeAspect="1" noChangeArrowheads="1"/>
          </p:cNvPicPr>
          <p:nvPr>
            <p:ph type="pic" sz="quarter" idx="13"/>
          </p:nvPr>
        </p:nvPicPr>
        <p:blipFill>
          <a:blip r:embed="rId3">
            <a:extLst>
              <a:ext uri="{28A0092B-C50C-407E-A947-70E740481C1C}">
                <a14:useLocalDpi xmlns:a14="http://schemas.microsoft.com/office/drawing/2010/main" val="0"/>
              </a:ext>
            </a:extLst>
          </a:blip>
          <a:srcRect t="626" b="626"/>
          <a:stretch>
            <a:fillRect/>
          </a:stretch>
        </p:blipFill>
        <p:spPr bwMode="auto">
          <a:xfrm>
            <a:off x="6921500" y="0"/>
            <a:ext cx="5270500" cy="61233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7002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1F6A61D0-C9A9-4590-A7BC-2BC87D50447B}"/>
              </a:ext>
            </a:extLst>
          </p:cNvPr>
          <p:cNvSpPr>
            <a:spLocks noGrp="1"/>
          </p:cNvSpPr>
          <p:nvPr>
            <p:ph type="title"/>
          </p:nvPr>
        </p:nvSpPr>
        <p:spPr/>
        <p:txBody>
          <a:bodyPr/>
          <a:lstStyle/>
          <a:p>
            <a:r>
              <a:rPr lang="sv-SE" dirty="0"/>
              <a:t>Supporten fick ett mejl … </a:t>
            </a:r>
          </a:p>
        </p:txBody>
      </p:sp>
      <p:sp>
        <p:nvSpPr>
          <p:cNvPr id="4" name="Underrubrik 3">
            <a:extLst>
              <a:ext uri="{FF2B5EF4-FFF2-40B4-BE49-F238E27FC236}">
                <a16:creationId xmlns:a16="http://schemas.microsoft.com/office/drawing/2014/main" id="{A3D50747-90DD-46B2-8D52-B5AEBF58670C}"/>
              </a:ext>
            </a:extLst>
          </p:cNvPr>
          <p:cNvSpPr>
            <a:spLocks noGrp="1"/>
          </p:cNvSpPr>
          <p:nvPr>
            <p:ph idx="1"/>
          </p:nvPr>
        </p:nvSpPr>
        <p:spPr>
          <a:xfrm>
            <a:off x="972267" y="1582148"/>
            <a:ext cx="9682625" cy="3858215"/>
          </a:xfrm>
        </p:spPr>
        <p:txBody>
          <a:bodyPr vert="horz" lIns="0" tIns="0" rIns="0" bIns="0" rtlCol="0" anchor="t">
            <a:noAutofit/>
          </a:bodyPr>
          <a:lstStyle/>
          <a:p>
            <a:pPr marL="0" indent="0">
              <a:buNone/>
            </a:pPr>
            <a:endParaRPr lang="sv-SE" b="1" dirty="0"/>
          </a:p>
          <a:p>
            <a:pPr marL="0" indent="0">
              <a:buNone/>
            </a:pPr>
            <a:r>
              <a:rPr lang="sv-SE" sz="1200" dirty="0">
                <a:ea typeface="+mn-lt"/>
                <a:cs typeface="+mn-lt"/>
              </a:rPr>
              <a:t>Hej, </a:t>
            </a:r>
          </a:p>
          <a:p>
            <a:pPr marL="0" indent="0">
              <a:buNone/>
            </a:pPr>
            <a:r>
              <a:rPr lang="sv-SE" sz="1200" dirty="0">
                <a:ea typeface="+mn-lt"/>
                <a:cs typeface="+mn-lt"/>
              </a:rPr>
              <a:t>Jag fick upp dessa 2 meddelanden i 1177.se när jag svarat på enkäter om ångest och depression som min psykolog skickade:</a:t>
            </a:r>
          </a:p>
          <a:p>
            <a:pPr marL="0" indent="0">
              <a:buNone/>
            </a:pPr>
            <a:r>
              <a:rPr lang="sv-SE" sz="1200" dirty="0">
                <a:ea typeface="+mn-lt"/>
                <a:cs typeface="+mn-lt"/>
              </a:rPr>
              <a:t> "Viktigt: Du har svarat "Nästan hela tiden" på en fråga som handlar om planer att ta sitt liv. Om du behöver hjälp snabbt, kontakta din mottagning eller ring 1177." </a:t>
            </a:r>
            <a:endParaRPr lang="sv-SE" sz="1200">
              <a:ea typeface="+mn-lt"/>
              <a:cs typeface="+mn-lt"/>
            </a:endParaRPr>
          </a:p>
          <a:p>
            <a:pPr marL="0" indent="0">
              <a:buNone/>
            </a:pPr>
            <a:r>
              <a:rPr lang="sv-SE" sz="1200" dirty="0">
                <a:ea typeface="+mn-lt"/>
                <a:cs typeface="+mn-lt"/>
              </a:rPr>
              <a:t>Och</a:t>
            </a:r>
          </a:p>
          <a:p>
            <a:pPr marL="0" indent="0">
              <a:buNone/>
            </a:pPr>
            <a:r>
              <a:rPr lang="sv-SE" sz="1200" dirty="0">
                <a:ea typeface="+mn-lt"/>
                <a:cs typeface="+mn-lt"/>
              </a:rPr>
              <a:t> "Viktigt: Du har skattat högt på en fråga som handlar om tankar eller planer på att ta sitt liv. Ta kontakt med din mottagning eller ring 1177 om du behöver hjälp snabbt." </a:t>
            </a:r>
            <a:endParaRPr lang="sv-SE" sz="1200">
              <a:ea typeface="+mn-lt"/>
              <a:cs typeface="+mn-lt"/>
            </a:endParaRPr>
          </a:p>
          <a:p>
            <a:pPr marL="0" indent="0">
              <a:buNone/>
            </a:pPr>
            <a:r>
              <a:rPr lang="sv-SE" sz="1200" dirty="0">
                <a:ea typeface="+mn-lt"/>
                <a:cs typeface="+mn-lt"/>
              </a:rPr>
              <a:t>Det är ju RENT FELAKTIG och LIVSFARLIG INFORMATION som MÅSTE ÄNDRAS OMGÅENDE !!! Jag har vid flertalet tillfällen upprepade gånger försökt att få tag i min psykiater (och även andra) på min mottagning då allt känts kört och jag varit otroligt nära att välja att ta mitt liv... ...men inte ens efter flera veckor har han (eller någon annan) hört av sig till mig, trots flertalet påminnelser (även från mina anhöriga) såväl via kontaktpunkten, som via 1177.se (har även träffat flera andra då jag legat inne i slutenvård som råkat ut för detta)... ...så att det står: "Om du behöver hjälp snabbt, kontakta din mottagning"... ...är ju rent LIVSFARLIGT och kan lätt vara den utlösande faktorn som skulle få mig eller någon annan slutligen välja att gå hela vägen och ta mitt/sitt liv !!! Hoppas att ni förstår och inser allvaret och direkt agerar... detta för att RÄDDA LIV !!!</a:t>
            </a:r>
            <a:endParaRPr lang="sv-SE" sz="1200"/>
          </a:p>
          <a:p>
            <a:pPr marL="0" indent="0">
              <a:buNone/>
            </a:pPr>
            <a:endParaRPr lang="sv-SE" b="1" dirty="0"/>
          </a:p>
          <a:p>
            <a:pPr marL="0" indent="0">
              <a:buNone/>
            </a:pPr>
            <a:endParaRPr lang="sv-SE" b="1" dirty="0"/>
          </a:p>
          <a:p>
            <a:pPr marL="0" indent="0">
              <a:buNone/>
            </a:pPr>
            <a:endParaRPr lang="sv-SE" b="1" dirty="0"/>
          </a:p>
          <a:p>
            <a:pPr marL="0" indent="0">
              <a:buNone/>
            </a:pPr>
            <a:endParaRPr lang="sv-SE" b="1" dirty="0"/>
          </a:p>
          <a:p>
            <a:pPr marL="0" indent="0">
              <a:buNone/>
            </a:pPr>
            <a:endParaRPr lang="sv-SE" b="1"/>
          </a:p>
        </p:txBody>
      </p:sp>
    </p:spTree>
    <p:extLst>
      <p:ext uri="{BB962C8B-B14F-4D97-AF65-F5344CB8AC3E}">
        <p14:creationId xmlns:p14="http://schemas.microsoft.com/office/powerpoint/2010/main" val="868890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fontAlgn="ctr"/>
            <a:r>
              <a:rPr lang="sv-SE" sz="4000"/>
              <a:t>Agenda</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15</a:t>
            </a:fld>
            <a:endParaRPr lang="sv-SE"/>
          </a:p>
        </p:txBody>
      </p:sp>
      <p:sp>
        <p:nvSpPr>
          <p:cNvPr id="3" name="textruta 2">
            <a:extLst>
              <a:ext uri="{FF2B5EF4-FFF2-40B4-BE49-F238E27FC236}">
                <a16:creationId xmlns:a16="http://schemas.microsoft.com/office/drawing/2014/main" id="{28E8375E-288E-4539-ABE4-FC3D347AF916}"/>
              </a:ext>
            </a:extLst>
          </p:cNvPr>
          <p:cNvSpPr txBox="1"/>
          <p:nvPr/>
        </p:nvSpPr>
        <p:spPr>
          <a:xfrm>
            <a:off x="764186" y="2082412"/>
            <a:ext cx="10517780" cy="3185963"/>
          </a:xfrm>
          <a:prstGeom prst="rect">
            <a:avLst/>
          </a:prstGeom>
          <a:noFill/>
        </p:spPr>
        <p:txBody>
          <a:bodyPr wrap="none" lIns="0" tIns="0" rIns="0" bIns="0" rtlCol="0" anchor="t">
            <a:noAutofit/>
          </a:bodyPr>
          <a:lstStyle/>
          <a:p>
            <a:pPr marL="285750" indent="-285750">
              <a:spcBef>
                <a:spcPts val="1200"/>
              </a:spcBef>
              <a:buFont typeface="Arial" panose="020B0604020202020204" pitchFamily="34" charset="0"/>
              <a:buChar char="•"/>
            </a:pPr>
            <a:r>
              <a:rPr lang="sv-SE" sz="2000" b="1"/>
              <a:t>Information från förvaltningen</a:t>
            </a:r>
            <a:endParaRPr lang="sv-SE" b="1"/>
          </a:p>
          <a:p>
            <a:pPr lvl="1">
              <a:buFont typeface="Arial" panose="020B0604020202020204" pitchFamily="34" charset="0"/>
              <a:buChar char="•"/>
            </a:pPr>
            <a:r>
              <a:rPr lang="sv-SE" sz="2000" b="1">
                <a:ea typeface="+mn-lt"/>
                <a:cs typeface="+mn-lt"/>
              </a:rPr>
              <a:t> </a:t>
            </a:r>
            <a:r>
              <a:rPr lang="sv-SE" sz="2000">
                <a:ea typeface="+mn-lt"/>
                <a:cs typeface="+mn-lt"/>
              </a:rPr>
              <a:t>Påminnelse om gallring </a:t>
            </a:r>
          </a:p>
          <a:p>
            <a:pPr lvl="1">
              <a:buFont typeface="Arial" panose="020B0604020202020204" pitchFamily="34" charset="0"/>
              <a:buChar char="•"/>
            </a:pPr>
            <a:r>
              <a:rPr lang="sv-SE" sz="2000">
                <a:ea typeface="+mn-lt"/>
                <a:cs typeface="+mn-lt"/>
              </a:rPr>
              <a:t> Påminnelse om LoA</a:t>
            </a:r>
            <a:endParaRPr lang="sv-SE">
              <a:ea typeface="+mn-lt"/>
              <a:cs typeface="+mn-lt"/>
            </a:endParaRPr>
          </a:p>
          <a:p>
            <a:pPr lvl="1">
              <a:buFont typeface="Arial" panose="020B0604020202020204" pitchFamily="34" charset="0"/>
              <a:buChar char="•"/>
            </a:pPr>
            <a:r>
              <a:rPr lang="sv-SE" sz="2000">
                <a:ea typeface="+mn-lt"/>
                <a:cs typeface="+mn-lt"/>
              </a:rPr>
              <a:t> Support  </a:t>
            </a:r>
            <a:endParaRPr lang="sv-SE">
              <a:ea typeface="+mn-lt"/>
              <a:cs typeface="+mn-lt"/>
            </a:endParaRPr>
          </a:p>
          <a:p>
            <a:pPr lvl="1">
              <a:buFont typeface="Arial" panose="020B0604020202020204" pitchFamily="34" charset="0"/>
              <a:buChar char="•"/>
            </a:pPr>
            <a:r>
              <a:rPr lang="sv-SE" sz="2000" b="1">
                <a:ea typeface="+mn-lt"/>
                <a:cs typeface="+mn-lt"/>
              </a:rPr>
              <a:t> Statuskoll från regionerna</a:t>
            </a:r>
            <a:r>
              <a:rPr lang="sv-SE" sz="2000">
                <a:ea typeface="+mn-lt"/>
                <a:cs typeface="+mn-lt"/>
              </a:rPr>
              <a:t> </a:t>
            </a:r>
            <a:endParaRPr lang="sv-SE">
              <a:ea typeface="+mn-lt"/>
              <a:cs typeface="+mn-lt"/>
            </a:endParaRPr>
          </a:p>
          <a:p>
            <a:pPr lvl="1">
              <a:buFont typeface="Arial" panose="020B0604020202020204" pitchFamily="34" charset="0"/>
              <a:buChar char="•"/>
            </a:pPr>
            <a:r>
              <a:rPr lang="sv-SE" sz="2000"/>
              <a:t> Vitalis</a:t>
            </a:r>
          </a:p>
          <a:p>
            <a:pPr marL="285750" indent="-285750">
              <a:spcBef>
                <a:spcPts val="1200"/>
              </a:spcBef>
              <a:buFont typeface="Arial" panose="020B0604020202020204" pitchFamily="34" charset="0"/>
              <a:buChar char="•"/>
            </a:pPr>
            <a:r>
              <a:rPr lang="sv-SE" sz="2000"/>
              <a:t>Anmälda frågor</a:t>
            </a:r>
          </a:p>
          <a:p>
            <a:pPr marL="285750" indent="-285750">
              <a:buFont typeface="Arial" panose="020B0604020202020204" pitchFamily="34" charset="0"/>
              <a:buChar char="•"/>
            </a:pPr>
            <a:endParaRPr lang="sv-SE" b="1"/>
          </a:p>
        </p:txBody>
      </p:sp>
    </p:spTree>
    <p:extLst>
      <p:ext uri="{BB962C8B-B14F-4D97-AF65-F5344CB8AC3E}">
        <p14:creationId xmlns:p14="http://schemas.microsoft.com/office/powerpoint/2010/main" val="9655915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B294072-904F-4303-BD50-6B01BC3B5CCF}"/>
              </a:ext>
            </a:extLst>
          </p:cNvPr>
          <p:cNvSpPr>
            <a:spLocks noGrp="1"/>
          </p:cNvSpPr>
          <p:nvPr>
            <p:ph type="title"/>
          </p:nvPr>
        </p:nvSpPr>
        <p:spPr/>
        <p:txBody>
          <a:bodyPr/>
          <a:lstStyle/>
          <a:p>
            <a:r>
              <a:rPr lang="sv-SE"/>
              <a:t>Statuskoll från regionerna </a:t>
            </a:r>
          </a:p>
        </p:txBody>
      </p:sp>
      <p:sp>
        <p:nvSpPr>
          <p:cNvPr id="5" name="Platshållare för innehåll 4">
            <a:extLst>
              <a:ext uri="{FF2B5EF4-FFF2-40B4-BE49-F238E27FC236}">
                <a16:creationId xmlns:a16="http://schemas.microsoft.com/office/drawing/2014/main" id="{60CADD54-02DE-4D5A-99FD-630D60F1D9AC}"/>
              </a:ext>
            </a:extLst>
          </p:cNvPr>
          <p:cNvSpPr>
            <a:spLocks noGrp="1"/>
          </p:cNvSpPr>
          <p:nvPr>
            <p:ph idx="1"/>
          </p:nvPr>
        </p:nvSpPr>
        <p:spPr/>
        <p:txBody>
          <a:bodyPr vert="horz" lIns="0" tIns="0" rIns="0" bIns="0" rtlCol="0" anchor="t">
            <a:noAutofit/>
          </a:bodyPr>
          <a:lstStyle/>
          <a:p>
            <a:r>
              <a:rPr lang="sv-SE"/>
              <a:t>24 september skickades mejlet "</a:t>
            </a:r>
            <a:r>
              <a:rPr lang="sv-SE">
                <a:ea typeface="+mn-lt"/>
                <a:cs typeface="+mn-lt"/>
              </a:rPr>
              <a:t>Stöd och behandling - statuskoll i regionerna"</a:t>
            </a:r>
          </a:p>
          <a:p>
            <a:r>
              <a:rPr lang="sv-SE">
                <a:ea typeface="+mn-lt"/>
                <a:cs typeface="+mn-lt"/>
              </a:rPr>
              <a:t> </a:t>
            </a:r>
            <a:r>
              <a:rPr lang="sv-SE"/>
              <a:t>Påminna er om att besvara dessa frågor. </a:t>
            </a:r>
          </a:p>
          <a:p>
            <a:pPr lvl="1"/>
            <a:r>
              <a:rPr lang="sv-SE"/>
              <a:t>Gärna så konkret ni kan. </a:t>
            </a:r>
          </a:p>
        </p:txBody>
      </p:sp>
      <p:sp>
        <p:nvSpPr>
          <p:cNvPr id="3" name="Platshållare för sidfot 2">
            <a:extLst>
              <a:ext uri="{FF2B5EF4-FFF2-40B4-BE49-F238E27FC236}">
                <a16:creationId xmlns:a16="http://schemas.microsoft.com/office/drawing/2014/main" id="{BA7A280E-9B42-40BA-9D81-6EDF7474A971}"/>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63FF369A-532D-4E8B-BEE3-EC973D227508}"/>
              </a:ext>
            </a:extLst>
          </p:cNvPr>
          <p:cNvSpPr>
            <a:spLocks noGrp="1"/>
          </p:cNvSpPr>
          <p:nvPr>
            <p:ph type="sldNum" sz="quarter" idx="12"/>
          </p:nvPr>
        </p:nvSpPr>
        <p:spPr/>
        <p:txBody>
          <a:bodyPr/>
          <a:lstStyle/>
          <a:p>
            <a:fld id="{7FF155A8-5C6D-4241-95DF-81E4F2B16EE5}" type="slidenum">
              <a:rPr lang="sv-SE" smtClean="0"/>
              <a:pPr/>
              <a:t>16</a:t>
            </a:fld>
            <a:endParaRPr lang="sv-SE"/>
          </a:p>
        </p:txBody>
      </p:sp>
      <p:sp>
        <p:nvSpPr>
          <p:cNvPr id="20" name="Platshållare för innehåll 4">
            <a:extLst>
              <a:ext uri="{FF2B5EF4-FFF2-40B4-BE49-F238E27FC236}">
                <a16:creationId xmlns:a16="http://schemas.microsoft.com/office/drawing/2014/main" id="{68875D57-91FC-4FD3-B862-EF4DEE85558D}"/>
              </a:ext>
            </a:extLst>
          </p:cNvPr>
          <p:cNvSpPr txBox="1">
            <a:spLocks/>
          </p:cNvSpPr>
          <p:nvPr/>
        </p:nvSpPr>
        <p:spPr>
          <a:xfrm>
            <a:off x="7025146" y="1688791"/>
            <a:ext cx="4048428" cy="3564527"/>
          </a:xfrm>
          <a:prstGeom prst="rect">
            <a:avLst/>
          </a:prstGeom>
        </p:spPr>
        <p:txBody>
          <a:bodyPr vert="horz" lIns="0" tIns="0" rIns="0" bIns="0" rtlCol="0" anchor="t">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20B0604020202020204" pitchFamily="34" charset="0"/>
              <a:buChar char="v"/>
            </a:pPr>
            <a:r>
              <a:rPr lang="sv-SE" sz="1200">
                <a:ea typeface="+mn-lt"/>
                <a:cs typeface="+mn-lt"/>
              </a:rPr>
              <a:t>Planerar ni att lansera moment som kommer generera mer än 200 startade moment på en enskild enhet?</a:t>
            </a:r>
            <a:endParaRPr lang="sv-SE" sz="1200"/>
          </a:p>
          <a:p>
            <a:pPr>
              <a:buFont typeface="Wingdings" panose="020B0604020202020204" pitchFamily="34" charset="0"/>
              <a:buChar char="v"/>
            </a:pPr>
            <a:r>
              <a:rPr lang="sv-SE" sz="1200">
                <a:ea typeface="+mn-lt"/>
                <a:cs typeface="+mn-lt"/>
              </a:rPr>
              <a:t>Har ni planer på att lansera nya öppna moment eller bredda målgruppen för befintliga öppna moment? Vi är väldigt intresserade av hur stort antal invånare ni uppskattar kommer starta eller tilldelas dessa moment.</a:t>
            </a:r>
            <a:endParaRPr lang="sv-SE" sz="1200"/>
          </a:p>
          <a:p>
            <a:pPr>
              <a:buFont typeface="Wingdings" panose="020B0604020202020204" pitchFamily="34" charset="0"/>
              <a:buChar char="v"/>
            </a:pPr>
            <a:r>
              <a:rPr lang="sv-SE" sz="1200">
                <a:ea typeface="+mn-lt"/>
                <a:cs typeface="+mn-lt"/>
              </a:rPr>
              <a:t>Planerar ni att lansera medietunga moment? Gå gärna igenom momentet en gång extra och fundera kring om alla mediefiler verkligen behövs. Tänk på bland annat att videofilmer inte alltid behöver ha den högsta grafiken, det kan belasta både tjänsten och invånarens nätverk samt påverka upplevelsen av momentet. Om ni trots efter en revision av momentet upplever att det är medietungt får ni gärna informera oss om det.</a:t>
            </a:r>
            <a:endParaRPr lang="sv-SE" sz="1200"/>
          </a:p>
          <a:p>
            <a:pPr>
              <a:buFont typeface="Wingdings" panose="020B0604020202020204" pitchFamily="34" charset="0"/>
              <a:buChar char="v"/>
            </a:pPr>
            <a:r>
              <a:rPr lang="sv-SE" sz="1200">
                <a:ea typeface="+mn-lt"/>
                <a:cs typeface="+mn-lt"/>
              </a:rPr>
              <a:t>Om ni misstänker att ni har något annat på gång som kan påverka prestandan får ni mer än gärna återkoppla detta till oss.</a:t>
            </a:r>
            <a:endParaRPr lang="sv-SE" sz="1200"/>
          </a:p>
          <a:p>
            <a:endParaRPr lang="sv-SE" sz="1200"/>
          </a:p>
        </p:txBody>
      </p:sp>
    </p:spTree>
    <p:extLst>
      <p:ext uri="{BB962C8B-B14F-4D97-AF65-F5344CB8AC3E}">
        <p14:creationId xmlns:p14="http://schemas.microsoft.com/office/powerpoint/2010/main" val="4194386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fontAlgn="ctr"/>
            <a:r>
              <a:rPr lang="sv-SE" sz="4000"/>
              <a:t>Agenda</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17</a:t>
            </a:fld>
            <a:endParaRPr lang="sv-SE"/>
          </a:p>
        </p:txBody>
      </p:sp>
      <p:sp>
        <p:nvSpPr>
          <p:cNvPr id="3" name="textruta 2">
            <a:extLst>
              <a:ext uri="{FF2B5EF4-FFF2-40B4-BE49-F238E27FC236}">
                <a16:creationId xmlns:a16="http://schemas.microsoft.com/office/drawing/2014/main" id="{28E8375E-288E-4539-ABE4-FC3D347AF916}"/>
              </a:ext>
            </a:extLst>
          </p:cNvPr>
          <p:cNvSpPr txBox="1"/>
          <p:nvPr/>
        </p:nvSpPr>
        <p:spPr>
          <a:xfrm>
            <a:off x="764186" y="2082412"/>
            <a:ext cx="10517780" cy="3185963"/>
          </a:xfrm>
          <a:prstGeom prst="rect">
            <a:avLst/>
          </a:prstGeom>
          <a:noFill/>
        </p:spPr>
        <p:txBody>
          <a:bodyPr wrap="none" lIns="0" tIns="0" rIns="0" bIns="0" rtlCol="0" anchor="t">
            <a:noAutofit/>
          </a:bodyPr>
          <a:lstStyle/>
          <a:p>
            <a:pPr marL="285750" indent="-285750">
              <a:spcBef>
                <a:spcPts val="1200"/>
              </a:spcBef>
              <a:buFont typeface="Arial" panose="020B0604020202020204" pitchFamily="34" charset="0"/>
              <a:buChar char="•"/>
            </a:pPr>
            <a:r>
              <a:rPr lang="sv-SE" sz="2000" b="1"/>
              <a:t>Information från förvaltningen</a:t>
            </a:r>
            <a:endParaRPr lang="sv-SE" b="1"/>
          </a:p>
          <a:p>
            <a:pPr lvl="1">
              <a:buFont typeface="Arial" panose="020B0604020202020204" pitchFamily="34" charset="0"/>
              <a:buChar char="•"/>
            </a:pPr>
            <a:r>
              <a:rPr lang="sv-SE" sz="2000" b="1">
                <a:ea typeface="+mn-lt"/>
                <a:cs typeface="+mn-lt"/>
              </a:rPr>
              <a:t> </a:t>
            </a:r>
            <a:r>
              <a:rPr lang="sv-SE" sz="2000">
                <a:ea typeface="+mn-lt"/>
                <a:cs typeface="+mn-lt"/>
              </a:rPr>
              <a:t>Påminnelse om gallring </a:t>
            </a:r>
          </a:p>
          <a:p>
            <a:pPr lvl="1">
              <a:buFont typeface="Arial" panose="020B0604020202020204" pitchFamily="34" charset="0"/>
              <a:buChar char="•"/>
            </a:pPr>
            <a:r>
              <a:rPr lang="sv-SE" sz="2000">
                <a:ea typeface="+mn-lt"/>
                <a:cs typeface="+mn-lt"/>
              </a:rPr>
              <a:t> Påminnelse om LoA</a:t>
            </a:r>
            <a:endParaRPr lang="sv-SE">
              <a:ea typeface="+mn-lt"/>
              <a:cs typeface="+mn-lt"/>
            </a:endParaRPr>
          </a:p>
          <a:p>
            <a:pPr lvl="1">
              <a:buFont typeface="Arial" panose="020B0604020202020204" pitchFamily="34" charset="0"/>
              <a:buChar char="•"/>
            </a:pPr>
            <a:r>
              <a:rPr lang="sv-SE" sz="2000">
                <a:ea typeface="+mn-lt"/>
                <a:cs typeface="+mn-lt"/>
              </a:rPr>
              <a:t> Support  </a:t>
            </a:r>
            <a:endParaRPr lang="sv-SE">
              <a:ea typeface="+mn-lt"/>
              <a:cs typeface="+mn-lt"/>
            </a:endParaRPr>
          </a:p>
          <a:p>
            <a:pPr lvl="1">
              <a:buFont typeface="Arial" panose="020B0604020202020204" pitchFamily="34" charset="0"/>
              <a:buChar char="•"/>
            </a:pPr>
            <a:r>
              <a:rPr lang="sv-SE" sz="2000">
                <a:ea typeface="+mn-lt"/>
                <a:cs typeface="+mn-lt"/>
              </a:rPr>
              <a:t> Statuskoll från regionerna </a:t>
            </a:r>
            <a:endParaRPr lang="sv-SE">
              <a:ea typeface="+mn-lt"/>
              <a:cs typeface="+mn-lt"/>
            </a:endParaRPr>
          </a:p>
          <a:p>
            <a:pPr lvl="1">
              <a:buFont typeface="Arial" panose="020B0604020202020204" pitchFamily="34" charset="0"/>
              <a:buChar char="•"/>
            </a:pPr>
            <a:r>
              <a:rPr lang="sv-SE" sz="2000"/>
              <a:t> </a:t>
            </a:r>
            <a:r>
              <a:rPr lang="sv-SE" sz="2000" b="1"/>
              <a:t>Vitalis</a:t>
            </a:r>
          </a:p>
          <a:p>
            <a:pPr marL="285750" indent="-285750">
              <a:spcBef>
                <a:spcPts val="1200"/>
              </a:spcBef>
              <a:buFont typeface="Arial" panose="020B0604020202020204" pitchFamily="34" charset="0"/>
              <a:buChar char="•"/>
            </a:pPr>
            <a:r>
              <a:rPr lang="sv-SE" sz="2000"/>
              <a:t>Anmälda frågor</a:t>
            </a:r>
          </a:p>
          <a:p>
            <a:pPr marL="285750" indent="-285750">
              <a:buFont typeface="Arial" panose="020B0604020202020204" pitchFamily="34" charset="0"/>
              <a:buChar char="•"/>
            </a:pPr>
            <a:endParaRPr lang="sv-SE" b="1"/>
          </a:p>
        </p:txBody>
      </p:sp>
    </p:spTree>
    <p:extLst>
      <p:ext uri="{BB962C8B-B14F-4D97-AF65-F5344CB8AC3E}">
        <p14:creationId xmlns:p14="http://schemas.microsoft.com/office/powerpoint/2010/main" val="1294002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1F6A61D0-C9A9-4590-A7BC-2BC87D50447B}"/>
              </a:ext>
            </a:extLst>
          </p:cNvPr>
          <p:cNvSpPr>
            <a:spLocks noGrp="1"/>
          </p:cNvSpPr>
          <p:nvPr>
            <p:ph type="title"/>
          </p:nvPr>
        </p:nvSpPr>
        <p:spPr/>
        <p:txBody>
          <a:bodyPr/>
          <a:lstStyle/>
          <a:p>
            <a:r>
              <a:rPr lang="sv-SE" err="1"/>
              <a:t>Vitalis</a:t>
            </a:r>
            <a:r>
              <a:rPr lang="sv-SE"/>
              <a:t> maj 2021 </a:t>
            </a:r>
          </a:p>
        </p:txBody>
      </p:sp>
      <p:sp>
        <p:nvSpPr>
          <p:cNvPr id="4" name="Underrubrik 3">
            <a:extLst>
              <a:ext uri="{FF2B5EF4-FFF2-40B4-BE49-F238E27FC236}">
                <a16:creationId xmlns:a16="http://schemas.microsoft.com/office/drawing/2014/main" id="{A3D50747-90DD-46B2-8D52-B5AEBF58670C}"/>
              </a:ext>
            </a:extLst>
          </p:cNvPr>
          <p:cNvSpPr>
            <a:spLocks noGrp="1"/>
          </p:cNvSpPr>
          <p:nvPr>
            <p:ph idx="1"/>
          </p:nvPr>
        </p:nvSpPr>
        <p:spPr>
          <a:xfrm>
            <a:off x="948455" y="1582148"/>
            <a:ext cx="8190375" cy="3072404"/>
          </a:xfrm>
        </p:spPr>
        <p:txBody>
          <a:bodyPr vert="horz" lIns="0" tIns="0" rIns="0" bIns="0" rtlCol="0" anchor="t">
            <a:noAutofit/>
          </a:bodyPr>
          <a:lstStyle/>
          <a:p>
            <a:pPr marL="0" indent="0">
              <a:buNone/>
            </a:pPr>
            <a:endParaRPr lang="sv-SE" sz="1400" b="1">
              <a:ea typeface="+mn-lt"/>
              <a:cs typeface="+mn-lt"/>
            </a:endParaRPr>
          </a:p>
          <a:p>
            <a:pPr marL="0" indent="0">
              <a:buNone/>
            </a:pPr>
            <a:r>
              <a:rPr lang="sv-SE" sz="1400">
                <a:ea typeface="+mn-lt"/>
                <a:cs typeface="+mn-lt"/>
              </a:rPr>
              <a:t>"Ett tydligt medskick från </a:t>
            </a:r>
            <a:r>
              <a:rPr lang="sv-SE" sz="1400" err="1">
                <a:ea typeface="+mn-lt"/>
                <a:cs typeface="+mn-lt"/>
              </a:rPr>
              <a:t>Vitalis</a:t>
            </a:r>
            <a:r>
              <a:rPr lang="sv-SE" sz="1400">
                <a:ea typeface="+mn-lt"/>
                <a:cs typeface="+mn-lt"/>
              </a:rPr>
              <a:t> i år är att man inte vill ha produktinformation på scenen utan ta del av organisationers erfarenheter och kunskaper."</a:t>
            </a:r>
            <a:endParaRPr lang="sv-SE" sz="1400" b="1">
              <a:ea typeface="+mn-lt"/>
              <a:cs typeface="+mn-lt"/>
            </a:endParaRPr>
          </a:p>
          <a:p>
            <a:pPr marL="0" indent="0">
              <a:buNone/>
            </a:pPr>
            <a:endParaRPr lang="sv-SE" sz="1400" b="1">
              <a:ea typeface="+mn-lt"/>
              <a:cs typeface="+mn-lt"/>
            </a:endParaRPr>
          </a:p>
          <a:p>
            <a:pPr marL="0" indent="0">
              <a:buNone/>
            </a:pPr>
            <a:r>
              <a:rPr lang="sv-SE" sz="1400" b="1">
                <a:ea typeface="+mn-lt"/>
                <a:cs typeface="+mn-lt"/>
              </a:rPr>
              <a:t>Datum att ha koll på</a:t>
            </a:r>
          </a:p>
          <a:p>
            <a:r>
              <a:rPr lang="sv-SE" sz="1400">
                <a:ea typeface="+mn-lt"/>
                <a:cs typeface="+mn-lt"/>
              </a:rPr>
              <a:t>15 december 2020 sista dag att skicka in ditt förslag</a:t>
            </a:r>
            <a:endParaRPr lang="sv-SE" sz="1400" b="1">
              <a:ea typeface="+mn-lt"/>
              <a:cs typeface="+mn-lt"/>
            </a:endParaRPr>
          </a:p>
          <a:p>
            <a:r>
              <a:rPr lang="sv-SE" sz="1400">
                <a:ea typeface="+mn-lt"/>
                <a:cs typeface="+mn-lt"/>
              </a:rPr>
              <a:t>Mars 2021, meddelande om din föreläsning är antagen eller inte</a:t>
            </a:r>
            <a:endParaRPr lang="sv-SE"/>
          </a:p>
          <a:p>
            <a:r>
              <a:rPr lang="sv-SE" sz="1400">
                <a:ea typeface="+mn-lt"/>
                <a:cs typeface="+mn-lt"/>
              </a:rPr>
              <a:t>Senast 4 maj 2021, skall förinspelad föreläsning laddas upp</a:t>
            </a:r>
            <a:endParaRPr lang="sv-SE"/>
          </a:p>
          <a:p>
            <a:r>
              <a:rPr lang="sv-SE" sz="1400">
                <a:ea typeface="+mn-lt"/>
                <a:cs typeface="+mn-lt"/>
              </a:rPr>
              <a:t>Senast 11 maj 2021, skall föreläsningsbilder (Powerpoint) laddas upp</a:t>
            </a:r>
            <a:endParaRPr lang="sv-SE"/>
          </a:p>
          <a:p>
            <a:r>
              <a:rPr lang="sv-SE" sz="1400">
                <a:ea typeface="+mn-lt"/>
                <a:cs typeface="+mn-lt"/>
              </a:rPr>
              <a:t>18-20 maj 2021, </a:t>
            </a:r>
            <a:r>
              <a:rPr lang="sv-SE" sz="1400" err="1">
                <a:ea typeface="+mn-lt"/>
                <a:cs typeface="+mn-lt"/>
              </a:rPr>
              <a:t>Vitalis</a:t>
            </a:r>
            <a:r>
              <a:rPr lang="sv-SE" sz="1400">
                <a:ea typeface="+mn-lt"/>
                <a:cs typeface="+mn-lt"/>
              </a:rPr>
              <a:t> konferens</a:t>
            </a:r>
            <a:endParaRPr lang="sv-SE"/>
          </a:p>
          <a:p>
            <a:pPr marL="285750" indent="-285750"/>
            <a:endParaRPr lang="sv-SE" sz="1400" b="1">
              <a:ea typeface="+mn-lt"/>
              <a:cs typeface="+mn-lt"/>
            </a:endParaRPr>
          </a:p>
          <a:p>
            <a:pPr marL="0" indent="0">
              <a:buNone/>
            </a:pPr>
            <a:endParaRPr lang="sv-SE" sz="1400" b="1"/>
          </a:p>
          <a:p>
            <a:pPr marL="0" indent="0">
              <a:buNone/>
            </a:pPr>
            <a:endParaRPr lang="sv-SE" sz="1400" b="1"/>
          </a:p>
          <a:p>
            <a:pPr marL="0" indent="0">
              <a:buNone/>
            </a:pPr>
            <a:endParaRPr lang="sv-SE" sz="1400" b="1"/>
          </a:p>
          <a:p>
            <a:pPr marL="0" indent="0">
              <a:buNone/>
            </a:pPr>
            <a:endParaRPr lang="sv-SE" sz="1400" b="1"/>
          </a:p>
        </p:txBody>
      </p:sp>
    </p:spTree>
    <p:extLst>
      <p:ext uri="{BB962C8B-B14F-4D97-AF65-F5344CB8AC3E}">
        <p14:creationId xmlns:p14="http://schemas.microsoft.com/office/powerpoint/2010/main" val="1958985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fontAlgn="ctr"/>
            <a:r>
              <a:rPr lang="sv-SE" sz="4000"/>
              <a:t>Agenda</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19</a:t>
            </a:fld>
            <a:endParaRPr lang="sv-SE"/>
          </a:p>
        </p:txBody>
      </p:sp>
      <p:sp>
        <p:nvSpPr>
          <p:cNvPr id="3" name="textruta 2">
            <a:extLst>
              <a:ext uri="{FF2B5EF4-FFF2-40B4-BE49-F238E27FC236}">
                <a16:creationId xmlns:a16="http://schemas.microsoft.com/office/drawing/2014/main" id="{28E8375E-288E-4539-ABE4-FC3D347AF916}"/>
              </a:ext>
            </a:extLst>
          </p:cNvPr>
          <p:cNvSpPr txBox="1"/>
          <p:nvPr/>
        </p:nvSpPr>
        <p:spPr>
          <a:xfrm>
            <a:off x="764186" y="2082412"/>
            <a:ext cx="10517780" cy="3185963"/>
          </a:xfrm>
          <a:prstGeom prst="rect">
            <a:avLst/>
          </a:prstGeom>
          <a:noFill/>
        </p:spPr>
        <p:txBody>
          <a:bodyPr wrap="none" lIns="0" tIns="0" rIns="0" bIns="0" rtlCol="0" anchor="t">
            <a:noAutofit/>
          </a:bodyPr>
          <a:lstStyle/>
          <a:p>
            <a:pPr marL="285750" indent="-285750">
              <a:spcBef>
                <a:spcPts val="1200"/>
              </a:spcBef>
              <a:buFont typeface="Arial" panose="020B0604020202020204" pitchFamily="34" charset="0"/>
              <a:buChar char="•"/>
            </a:pPr>
            <a:r>
              <a:rPr lang="sv-SE" sz="2000" dirty="0"/>
              <a:t>Information från förvaltningen</a:t>
            </a:r>
            <a:endParaRPr lang="sv-SE" dirty="0"/>
          </a:p>
          <a:p>
            <a:pPr lvl="1">
              <a:buFont typeface="Arial" panose="020B0604020202020204" pitchFamily="34" charset="0"/>
              <a:buChar char="•"/>
            </a:pPr>
            <a:r>
              <a:rPr lang="sv-SE" sz="2000" b="1" dirty="0">
                <a:ea typeface="+mn-lt"/>
                <a:cs typeface="+mn-lt"/>
              </a:rPr>
              <a:t> </a:t>
            </a:r>
            <a:r>
              <a:rPr lang="sv-SE" sz="2000" dirty="0">
                <a:ea typeface="+mn-lt"/>
                <a:cs typeface="+mn-lt"/>
              </a:rPr>
              <a:t>Påminnelse om gallring </a:t>
            </a:r>
          </a:p>
          <a:p>
            <a:pPr lvl="1">
              <a:buFont typeface="Arial" panose="020B0604020202020204" pitchFamily="34" charset="0"/>
              <a:buChar char="•"/>
            </a:pPr>
            <a:r>
              <a:rPr lang="sv-SE" sz="2000" dirty="0">
                <a:ea typeface="+mn-lt"/>
                <a:cs typeface="+mn-lt"/>
              </a:rPr>
              <a:t> Påminnelse om </a:t>
            </a:r>
            <a:r>
              <a:rPr lang="sv-SE" sz="2000" dirty="0" err="1">
                <a:ea typeface="+mn-lt"/>
                <a:cs typeface="+mn-lt"/>
              </a:rPr>
              <a:t>LoA</a:t>
            </a:r>
            <a:endParaRPr lang="sv-SE" dirty="0">
              <a:ea typeface="+mn-lt"/>
              <a:cs typeface="+mn-lt"/>
            </a:endParaRPr>
          </a:p>
          <a:p>
            <a:pPr lvl="1">
              <a:buFont typeface="Arial" panose="020B0604020202020204" pitchFamily="34" charset="0"/>
              <a:buChar char="•"/>
            </a:pPr>
            <a:r>
              <a:rPr lang="sv-SE" sz="2000" dirty="0">
                <a:ea typeface="+mn-lt"/>
                <a:cs typeface="+mn-lt"/>
              </a:rPr>
              <a:t> Support  </a:t>
            </a:r>
            <a:endParaRPr lang="sv-SE" dirty="0">
              <a:ea typeface="+mn-lt"/>
              <a:cs typeface="+mn-lt"/>
            </a:endParaRPr>
          </a:p>
          <a:p>
            <a:pPr lvl="1">
              <a:buFont typeface="Arial" panose="020B0604020202020204" pitchFamily="34" charset="0"/>
              <a:buChar char="•"/>
            </a:pPr>
            <a:r>
              <a:rPr lang="sv-SE" sz="2000" dirty="0">
                <a:ea typeface="+mn-lt"/>
                <a:cs typeface="+mn-lt"/>
              </a:rPr>
              <a:t> Statuskoll från regionerna </a:t>
            </a:r>
            <a:endParaRPr lang="sv-SE" dirty="0">
              <a:ea typeface="+mn-lt"/>
              <a:cs typeface="+mn-lt"/>
            </a:endParaRPr>
          </a:p>
          <a:p>
            <a:pPr lvl="1">
              <a:buFont typeface="Arial" panose="020B0604020202020204" pitchFamily="34" charset="0"/>
              <a:buChar char="•"/>
            </a:pPr>
            <a:r>
              <a:rPr lang="sv-SE" sz="2000" dirty="0"/>
              <a:t> </a:t>
            </a:r>
            <a:r>
              <a:rPr lang="sv-SE" sz="2000" dirty="0" err="1"/>
              <a:t>Vitalis</a:t>
            </a:r>
            <a:endParaRPr lang="sv-SE" sz="2000" dirty="0"/>
          </a:p>
          <a:p>
            <a:pPr marL="285750" indent="-285750">
              <a:spcBef>
                <a:spcPts val="1200"/>
              </a:spcBef>
              <a:buFont typeface="Arial" panose="020B0604020202020204" pitchFamily="34" charset="0"/>
              <a:buChar char="•"/>
            </a:pPr>
            <a:r>
              <a:rPr lang="sv-SE" sz="2000" b="1" dirty="0"/>
              <a:t>Anmälda frågor</a:t>
            </a:r>
          </a:p>
          <a:p>
            <a:pPr marL="285750" indent="-285750">
              <a:buFont typeface="Arial" panose="020B0604020202020204" pitchFamily="34" charset="0"/>
              <a:buChar char="•"/>
            </a:pPr>
            <a:endParaRPr lang="sv-SE" b="1" dirty="0"/>
          </a:p>
        </p:txBody>
      </p:sp>
    </p:spTree>
    <p:extLst>
      <p:ext uri="{BB962C8B-B14F-4D97-AF65-F5344CB8AC3E}">
        <p14:creationId xmlns:p14="http://schemas.microsoft.com/office/powerpoint/2010/main" val="2434031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B3CAC4E-845C-4464-A04D-C4DB3DE46AF3}"/>
              </a:ext>
            </a:extLst>
          </p:cNvPr>
          <p:cNvSpPr>
            <a:spLocks noGrp="1"/>
          </p:cNvSpPr>
          <p:nvPr>
            <p:ph type="title"/>
          </p:nvPr>
        </p:nvSpPr>
        <p:spPr>
          <a:xfrm>
            <a:off x="838200" y="1"/>
            <a:ext cx="10515600" cy="944713"/>
          </a:xfrm>
        </p:spPr>
        <p:txBody>
          <a:bodyPr/>
          <a:lstStyle/>
          <a:p>
            <a:pPr algn="ctr"/>
            <a:r>
              <a:rPr lang="en-US"/>
              <a:t>Innan vi börjar….</a:t>
            </a:r>
          </a:p>
        </p:txBody>
      </p:sp>
      <p:sp>
        <p:nvSpPr>
          <p:cNvPr id="9" name="Content Placeholder 2">
            <a:extLst>
              <a:ext uri="{FF2B5EF4-FFF2-40B4-BE49-F238E27FC236}">
                <a16:creationId xmlns:a16="http://schemas.microsoft.com/office/drawing/2014/main" id="{9993CAB1-87C1-455A-819E-ACEEB293788A}"/>
              </a:ext>
            </a:extLst>
          </p:cNvPr>
          <p:cNvSpPr>
            <a:spLocks noGrp="1"/>
          </p:cNvSpPr>
          <p:nvPr>
            <p:ph idx="1"/>
          </p:nvPr>
        </p:nvSpPr>
        <p:spPr>
          <a:xfrm>
            <a:off x="838200" y="1825625"/>
            <a:ext cx="11130280" cy="4351338"/>
          </a:xfrm>
        </p:spPr>
        <p:txBody>
          <a:bodyPr>
            <a:normAutofit/>
          </a:bodyPr>
          <a:lstStyle/>
          <a:p>
            <a:pPr>
              <a:buFont typeface="Wingdings" panose="05000000000000000000" pitchFamily="2" charset="2"/>
              <a:buChar char="ü"/>
            </a:pPr>
            <a:r>
              <a:rPr lang="sv-SE"/>
              <a:t>Stäng av er kamera</a:t>
            </a:r>
          </a:p>
          <a:p>
            <a:pPr>
              <a:buFont typeface="Wingdings" panose="05000000000000000000" pitchFamily="2" charset="2"/>
              <a:buChar char="ü"/>
            </a:pPr>
            <a:endParaRPr lang="sv-SE"/>
          </a:p>
          <a:p>
            <a:pPr>
              <a:buFont typeface="Wingdings" panose="05000000000000000000" pitchFamily="2" charset="2"/>
              <a:buChar char="ü"/>
            </a:pPr>
            <a:r>
              <a:rPr lang="sv-SE"/>
              <a:t>Var med live eller i chatten.</a:t>
            </a:r>
          </a:p>
          <a:p>
            <a:pPr>
              <a:buFont typeface="Wingdings" panose="05000000000000000000" pitchFamily="2" charset="2"/>
              <a:buChar char="ü"/>
            </a:pPr>
            <a:endParaRPr lang="sv-SE"/>
          </a:p>
          <a:p>
            <a:pPr>
              <a:buFont typeface="Wingdings" panose="05000000000000000000" pitchFamily="2" charset="2"/>
              <a:buChar char="ü"/>
            </a:pPr>
            <a:r>
              <a:rPr lang="sv-SE"/>
              <a:t>Se till att din mikrofon är avstängd, förutom när du vill säga något.</a:t>
            </a:r>
            <a:br>
              <a:rPr lang="sv-SE"/>
            </a:br>
            <a:r>
              <a:rPr lang="sv-SE"/>
              <a:t>Om du vill prata, glöm inte att inleda med att presentera dig med namn samt region. </a:t>
            </a:r>
          </a:p>
          <a:p>
            <a:pPr>
              <a:buFont typeface="Wingdings" panose="05000000000000000000" pitchFamily="2" charset="2"/>
              <a:buChar char="ü"/>
            </a:pPr>
            <a:endParaRPr lang="sv-SE"/>
          </a:p>
          <a:p>
            <a:pPr>
              <a:buFont typeface="Wingdings" panose="05000000000000000000" pitchFamily="2" charset="2"/>
              <a:buChar char="ü"/>
            </a:pPr>
            <a:r>
              <a:rPr lang="sv-SE"/>
              <a:t>Användarforumet spelas in och läggs på Förvaltningens informationssida</a:t>
            </a:r>
            <a:endParaRPr lang="en-US"/>
          </a:p>
        </p:txBody>
      </p:sp>
      <p:pic>
        <p:nvPicPr>
          <p:cNvPr id="5" name="Bild 4" descr="Poddsändning">
            <a:extLst>
              <a:ext uri="{FF2B5EF4-FFF2-40B4-BE49-F238E27FC236}">
                <a16:creationId xmlns:a16="http://schemas.microsoft.com/office/drawing/2014/main" id="{BBECEADC-8CA8-4164-849C-07EB5F4D139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782879" y="3944758"/>
            <a:ext cx="819364" cy="819364"/>
          </a:xfrm>
          <a:prstGeom prst="rect">
            <a:avLst/>
          </a:prstGeom>
        </p:spPr>
      </p:pic>
      <p:pic>
        <p:nvPicPr>
          <p:cNvPr id="6" name="Bild 5" descr="Videokamera">
            <a:extLst>
              <a:ext uri="{FF2B5EF4-FFF2-40B4-BE49-F238E27FC236}">
                <a16:creationId xmlns:a16="http://schemas.microsoft.com/office/drawing/2014/main" id="{444986D8-15ED-4B88-BCA7-52BCC50FBD7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782879" y="1531312"/>
            <a:ext cx="819364" cy="819364"/>
          </a:xfrm>
          <a:prstGeom prst="rect">
            <a:avLst/>
          </a:prstGeom>
        </p:spPr>
      </p:pic>
      <p:pic>
        <p:nvPicPr>
          <p:cNvPr id="10" name="Bild 9" descr="Marknadsföring">
            <a:extLst>
              <a:ext uri="{FF2B5EF4-FFF2-40B4-BE49-F238E27FC236}">
                <a16:creationId xmlns:a16="http://schemas.microsoft.com/office/drawing/2014/main" id="{B8FB716B-E4DE-4BFB-A4CA-29452ECD36C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782879" y="2747342"/>
            <a:ext cx="832468" cy="832468"/>
          </a:xfrm>
          <a:prstGeom prst="rect">
            <a:avLst/>
          </a:prstGeom>
        </p:spPr>
      </p:pic>
      <p:pic>
        <p:nvPicPr>
          <p:cNvPr id="20" name="Bild 19" descr="Bock">
            <a:extLst>
              <a:ext uri="{FF2B5EF4-FFF2-40B4-BE49-F238E27FC236}">
                <a16:creationId xmlns:a16="http://schemas.microsoft.com/office/drawing/2014/main" id="{B4533BC8-CB80-4FA1-9CB7-461589A7ADC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782880" y="1531312"/>
            <a:ext cx="832467" cy="832467"/>
          </a:xfrm>
          <a:prstGeom prst="rect">
            <a:avLst/>
          </a:prstGeom>
        </p:spPr>
      </p:pic>
    </p:spTree>
    <p:extLst>
      <p:ext uri="{BB962C8B-B14F-4D97-AF65-F5344CB8AC3E}">
        <p14:creationId xmlns:p14="http://schemas.microsoft.com/office/powerpoint/2010/main" val="6883021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fontAlgn="ctr"/>
            <a:r>
              <a:rPr lang="sv-SE" sz="4000"/>
              <a:t>Anmälda frågor</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20</a:t>
            </a:fld>
            <a:endParaRPr lang="sv-SE"/>
          </a:p>
        </p:txBody>
      </p:sp>
      <p:sp>
        <p:nvSpPr>
          <p:cNvPr id="5" name="textruta 4">
            <a:extLst>
              <a:ext uri="{FF2B5EF4-FFF2-40B4-BE49-F238E27FC236}">
                <a16:creationId xmlns:a16="http://schemas.microsoft.com/office/drawing/2014/main" id="{E66C5368-8331-464F-8C50-5BB97655E8A7}"/>
              </a:ext>
            </a:extLst>
          </p:cNvPr>
          <p:cNvSpPr txBox="1"/>
          <p:nvPr/>
        </p:nvSpPr>
        <p:spPr>
          <a:xfrm>
            <a:off x="765990" y="1836018"/>
            <a:ext cx="10517780" cy="3185963"/>
          </a:xfrm>
          <a:prstGeom prst="rect">
            <a:avLst/>
          </a:prstGeom>
          <a:noFill/>
        </p:spPr>
        <p:txBody>
          <a:bodyPr wrap="none" lIns="0" tIns="0" rIns="0" bIns="0" rtlCol="0">
            <a:noAutofit/>
          </a:bodyPr>
          <a:lstStyle/>
          <a:p>
            <a:pPr marL="285750" indent="-285750">
              <a:lnSpc>
                <a:spcPct val="150000"/>
              </a:lnSpc>
              <a:buFont typeface="Arial" panose="020B0604020202020204" pitchFamily="34" charset="0"/>
              <a:buChar char="•"/>
            </a:pPr>
            <a:endParaRPr lang="sv-SE"/>
          </a:p>
        </p:txBody>
      </p:sp>
    </p:spTree>
    <p:extLst>
      <p:ext uri="{BB962C8B-B14F-4D97-AF65-F5344CB8AC3E}">
        <p14:creationId xmlns:p14="http://schemas.microsoft.com/office/powerpoint/2010/main" val="41584795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598CC98-26D1-42F0-87D4-2E3B8705BB05}"/>
              </a:ext>
            </a:extLst>
          </p:cNvPr>
          <p:cNvSpPr>
            <a:spLocks noGrp="1"/>
          </p:cNvSpPr>
          <p:nvPr>
            <p:ph type="title"/>
          </p:nvPr>
        </p:nvSpPr>
        <p:spPr/>
        <p:txBody>
          <a:bodyPr/>
          <a:lstStyle/>
          <a:p>
            <a:pPr algn="ctr"/>
            <a:r>
              <a:rPr lang="sv-SE"/>
              <a:t>Höstens kommande Användarforum</a:t>
            </a:r>
          </a:p>
        </p:txBody>
      </p:sp>
      <p:sp>
        <p:nvSpPr>
          <p:cNvPr id="3" name="Platshållare för innehåll 2">
            <a:extLst>
              <a:ext uri="{FF2B5EF4-FFF2-40B4-BE49-F238E27FC236}">
                <a16:creationId xmlns:a16="http://schemas.microsoft.com/office/drawing/2014/main" id="{3E215758-AD04-4783-8B7A-EA30D128D138}"/>
              </a:ext>
            </a:extLst>
          </p:cNvPr>
          <p:cNvSpPr>
            <a:spLocks noGrp="1"/>
          </p:cNvSpPr>
          <p:nvPr>
            <p:ph idx="1"/>
          </p:nvPr>
        </p:nvSpPr>
        <p:spPr>
          <a:xfrm>
            <a:off x="758038" y="1950127"/>
            <a:ext cx="10459450" cy="3564527"/>
          </a:xfrm>
        </p:spPr>
        <p:txBody>
          <a:bodyPr vert="horz" lIns="0" tIns="0" rIns="0" bIns="0" rtlCol="0" anchor="t">
            <a:noAutofit/>
          </a:bodyPr>
          <a:lstStyle/>
          <a:p>
            <a:endParaRPr lang="sv-SE"/>
          </a:p>
          <a:p>
            <a:endParaRPr lang="sv-SE"/>
          </a:p>
          <a:p>
            <a:r>
              <a:rPr lang="sv-SE"/>
              <a:t>27 november </a:t>
            </a:r>
          </a:p>
          <a:p>
            <a:pPr lvl="1"/>
            <a:r>
              <a:rPr lang="sv-SE"/>
              <a:t>Namnstandard på moment (Region Skåne)</a:t>
            </a:r>
          </a:p>
          <a:p>
            <a:endParaRPr lang="sv-SE"/>
          </a:p>
          <a:p>
            <a:pPr marL="0" indent="0">
              <a:buNone/>
            </a:pPr>
            <a:endParaRPr lang="sv-SE"/>
          </a:p>
        </p:txBody>
      </p:sp>
    </p:spTree>
    <p:extLst>
      <p:ext uri="{BB962C8B-B14F-4D97-AF65-F5344CB8AC3E}">
        <p14:creationId xmlns:p14="http://schemas.microsoft.com/office/powerpoint/2010/main" val="10368714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C28D93B-810B-4496-B5A7-8067431BE536}"/>
              </a:ext>
            </a:extLst>
          </p:cNvPr>
          <p:cNvSpPr>
            <a:spLocks noGrp="1"/>
          </p:cNvSpPr>
          <p:nvPr>
            <p:ph type="title"/>
          </p:nvPr>
        </p:nvSpPr>
        <p:spPr>
          <a:xfrm>
            <a:off x="838200" y="1540043"/>
            <a:ext cx="10515600" cy="4588041"/>
          </a:xfrm>
        </p:spPr>
        <p:txBody>
          <a:bodyPr/>
          <a:lstStyle/>
          <a:p>
            <a:r>
              <a:rPr lang="sv-SE"/>
              <a:t>Tack för er uppmärksamhet!</a:t>
            </a:r>
            <a:br>
              <a:rPr lang="sv-SE"/>
            </a:br>
            <a:br>
              <a:rPr lang="sv-SE" sz="2400">
                <a:latin typeface="+mn-lt"/>
              </a:rPr>
            </a:br>
            <a:r>
              <a:rPr lang="sv-SE" sz="2400">
                <a:latin typeface="+mn-lt"/>
              </a:rPr>
              <a:t>Finns det fördjupningsområde ni är intresserade av att höra om, </a:t>
            </a:r>
            <a:br>
              <a:rPr lang="sv-SE" sz="2400">
                <a:latin typeface="+mn-lt"/>
              </a:rPr>
            </a:br>
            <a:r>
              <a:rPr lang="sv-SE" sz="2400">
                <a:latin typeface="+mn-lt"/>
              </a:rPr>
              <a:t>skicka ett ärende till supporten och tagga med ”Användarforum”</a:t>
            </a:r>
            <a:endParaRPr lang="sv-SE">
              <a:latin typeface="+mn-lt"/>
            </a:endParaRPr>
          </a:p>
        </p:txBody>
      </p:sp>
      <p:sp>
        <p:nvSpPr>
          <p:cNvPr id="3" name="Platshållare för sidfot 2">
            <a:extLst>
              <a:ext uri="{FF2B5EF4-FFF2-40B4-BE49-F238E27FC236}">
                <a16:creationId xmlns:a16="http://schemas.microsoft.com/office/drawing/2014/main" id="{1B2485EB-416D-41A4-8A24-F8A094637633}"/>
              </a:ext>
            </a:extLst>
          </p:cNvPr>
          <p:cNvSpPr>
            <a:spLocks noGrp="1"/>
          </p:cNvSpPr>
          <p:nvPr>
            <p:ph type="ftr" sz="quarter" idx="3"/>
          </p:nvPr>
        </p:nvSpPr>
        <p:spPr/>
        <p:txBody>
          <a:bodyPr/>
          <a:lstStyle/>
          <a:p>
            <a:endParaRPr lang="sv-SE"/>
          </a:p>
        </p:txBody>
      </p:sp>
      <p:sp>
        <p:nvSpPr>
          <p:cNvPr id="4" name="Platshållare för bildnummer 3">
            <a:extLst>
              <a:ext uri="{FF2B5EF4-FFF2-40B4-BE49-F238E27FC236}">
                <a16:creationId xmlns:a16="http://schemas.microsoft.com/office/drawing/2014/main" id="{60576C32-35B8-4D1C-9C86-5C58C6FF8AD2}"/>
              </a:ext>
            </a:extLst>
          </p:cNvPr>
          <p:cNvSpPr>
            <a:spLocks noGrp="1"/>
          </p:cNvSpPr>
          <p:nvPr>
            <p:ph type="sldNum" sz="quarter" idx="4"/>
          </p:nvPr>
        </p:nvSpPr>
        <p:spPr/>
        <p:txBody>
          <a:bodyPr/>
          <a:lstStyle/>
          <a:p>
            <a:fld id="{7FF155A8-5C6D-4241-95DF-81E4F2B16EE5}" type="slidenum">
              <a:rPr lang="sv-SE" smtClean="0"/>
              <a:pPr/>
              <a:t>22</a:t>
            </a:fld>
            <a:endParaRPr lang="sv-SE"/>
          </a:p>
        </p:txBody>
      </p:sp>
    </p:spTree>
    <p:extLst>
      <p:ext uri="{BB962C8B-B14F-4D97-AF65-F5344CB8AC3E}">
        <p14:creationId xmlns:p14="http://schemas.microsoft.com/office/powerpoint/2010/main" val="22196669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703282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fontAlgn="ctr"/>
            <a:r>
              <a:rPr lang="sv-SE" sz="4000"/>
              <a:t>Syfte: Koordinera och samla in behov samt kanal för informations- och erfarenhetsutbyte </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3</a:t>
            </a:fld>
            <a:endParaRPr lang="sv-SE"/>
          </a:p>
        </p:txBody>
      </p:sp>
      <p:sp>
        <p:nvSpPr>
          <p:cNvPr id="5" name="textruta 4">
            <a:extLst>
              <a:ext uri="{FF2B5EF4-FFF2-40B4-BE49-F238E27FC236}">
                <a16:creationId xmlns:a16="http://schemas.microsoft.com/office/drawing/2014/main" id="{E66C5368-8331-464F-8C50-5BB97655E8A7}"/>
              </a:ext>
            </a:extLst>
          </p:cNvPr>
          <p:cNvSpPr txBox="1"/>
          <p:nvPr/>
        </p:nvSpPr>
        <p:spPr>
          <a:xfrm>
            <a:off x="666776" y="2165682"/>
            <a:ext cx="10517780" cy="3185963"/>
          </a:xfrm>
          <a:prstGeom prst="rect">
            <a:avLst/>
          </a:prstGeom>
          <a:noFill/>
        </p:spPr>
        <p:txBody>
          <a:bodyPr wrap="none" lIns="0" tIns="0" rIns="0" bIns="0" rtlCol="0" anchor="t">
            <a:noAutofit/>
          </a:bodyPr>
          <a:lstStyle/>
          <a:p>
            <a:r>
              <a:rPr lang="sv-SE" sz="2000" b="1" dirty="0"/>
              <a:t>Agenda</a:t>
            </a:r>
          </a:p>
          <a:p>
            <a:pPr marL="285750" indent="-285750">
              <a:spcBef>
                <a:spcPts val="1200"/>
              </a:spcBef>
              <a:buFont typeface="Arial" panose="020B0604020202020204" pitchFamily="34" charset="0"/>
              <a:buChar char="•"/>
            </a:pPr>
            <a:r>
              <a:rPr lang="sv-SE" sz="2000" dirty="0"/>
              <a:t>Information från förvaltningen</a:t>
            </a:r>
          </a:p>
          <a:p>
            <a:pPr lvl="1">
              <a:buFont typeface="Arial" panose="020B0604020202020204" pitchFamily="34" charset="0"/>
              <a:buChar char="•"/>
            </a:pPr>
            <a:r>
              <a:rPr lang="sv-SE" sz="2000" dirty="0">
                <a:ea typeface="+mn-lt"/>
                <a:cs typeface="+mn-lt"/>
              </a:rPr>
              <a:t> Påminnelse om gallring </a:t>
            </a:r>
          </a:p>
          <a:p>
            <a:pPr lvl="1">
              <a:buFont typeface="Arial" panose="020B0604020202020204" pitchFamily="34" charset="0"/>
              <a:buChar char="•"/>
            </a:pPr>
            <a:r>
              <a:rPr lang="sv-SE" sz="2000" dirty="0">
                <a:ea typeface="+mn-lt"/>
                <a:cs typeface="+mn-lt"/>
              </a:rPr>
              <a:t> Påminnelse om </a:t>
            </a:r>
            <a:r>
              <a:rPr lang="sv-SE" sz="2000" dirty="0" err="1">
                <a:ea typeface="+mn-lt"/>
                <a:cs typeface="+mn-lt"/>
              </a:rPr>
              <a:t>LoA</a:t>
            </a:r>
            <a:endParaRPr lang="sv-SE" dirty="0" err="1">
              <a:ea typeface="+mn-lt"/>
              <a:cs typeface="+mn-lt"/>
            </a:endParaRPr>
          </a:p>
          <a:p>
            <a:pPr lvl="1">
              <a:buFont typeface="Arial" panose="020B0604020202020204" pitchFamily="34" charset="0"/>
              <a:buChar char="•"/>
            </a:pPr>
            <a:r>
              <a:rPr lang="sv-SE" sz="2000" dirty="0">
                <a:ea typeface="+mn-lt"/>
                <a:cs typeface="+mn-lt"/>
              </a:rPr>
              <a:t> Support  </a:t>
            </a:r>
            <a:endParaRPr lang="sv-SE" dirty="0">
              <a:ea typeface="+mn-lt"/>
              <a:cs typeface="+mn-lt"/>
            </a:endParaRPr>
          </a:p>
          <a:p>
            <a:pPr lvl="1">
              <a:buFont typeface="Arial" panose="020B0604020202020204" pitchFamily="34" charset="0"/>
              <a:buChar char="•"/>
            </a:pPr>
            <a:r>
              <a:rPr lang="sv-SE" sz="2000" dirty="0">
                <a:ea typeface="+mn-lt"/>
                <a:cs typeface="+mn-lt"/>
              </a:rPr>
              <a:t> Statuskoll från regionerna </a:t>
            </a:r>
            <a:endParaRPr lang="sv-SE" dirty="0">
              <a:ea typeface="+mn-lt"/>
              <a:cs typeface="+mn-lt"/>
            </a:endParaRPr>
          </a:p>
          <a:p>
            <a:pPr lvl="1">
              <a:buFont typeface="Arial" panose="020B0604020202020204" pitchFamily="34" charset="0"/>
              <a:buChar char="•"/>
            </a:pPr>
            <a:r>
              <a:rPr lang="sv-SE" sz="2000" dirty="0"/>
              <a:t> </a:t>
            </a:r>
            <a:r>
              <a:rPr lang="sv-SE" sz="2000" dirty="0" err="1"/>
              <a:t>Vitalis</a:t>
            </a:r>
          </a:p>
          <a:p>
            <a:pPr marL="285750" indent="-285750">
              <a:spcBef>
                <a:spcPts val="1200"/>
              </a:spcBef>
              <a:buFont typeface="Arial" panose="020B0604020202020204" pitchFamily="34" charset="0"/>
              <a:buChar char="•"/>
            </a:pPr>
            <a:r>
              <a:rPr lang="sv-SE" sz="2000" dirty="0"/>
              <a:t>Anmälda frågor</a:t>
            </a:r>
          </a:p>
          <a:p>
            <a:pPr marL="285750" indent="-285750">
              <a:buFont typeface="Arial" panose="020B0604020202020204" pitchFamily="34" charset="0"/>
              <a:buChar char="•"/>
            </a:pPr>
            <a:endParaRPr lang="sv-SE" b="1"/>
          </a:p>
        </p:txBody>
      </p:sp>
    </p:spTree>
    <p:extLst>
      <p:ext uri="{BB962C8B-B14F-4D97-AF65-F5344CB8AC3E}">
        <p14:creationId xmlns:p14="http://schemas.microsoft.com/office/powerpoint/2010/main" val="13515462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fontAlgn="ctr"/>
            <a:r>
              <a:rPr lang="sv-SE" sz="4000"/>
              <a:t>Agenda</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4</a:t>
            </a:fld>
            <a:endParaRPr lang="sv-SE"/>
          </a:p>
        </p:txBody>
      </p:sp>
      <p:sp>
        <p:nvSpPr>
          <p:cNvPr id="3" name="textruta 2">
            <a:extLst>
              <a:ext uri="{FF2B5EF4-FFF2-40B4-BE49-F238E27FC236}">
                <a16:creationId xmlns:a16="http://schemas.microsoft.com/office/drawing/2014/main" id="{28E8375E-288E-4539-ABE4-FC3D347AF916}"/>
              </a:ext>
            </a:extLst>
          </p:cNvPr>
          <p:cNvSpPr txBox="1"/>
          <p:nvPr/>
        </p:nvSpPr>
        <p:spPr>
          <a:xfrm>
            <a:off x="764186" y="2082412"/>
            <a:ext cx="10517780" cy="3185963"/>
          </a:xfrm>
          <a:prstGeom prst="rect">
            <a:avLst/>
          </a:prstGeom>
          <a:noFill/>
        </p:spPr>
        <p:txBody>
          <a:bodyPr wrap="none" lIns="0" tIns="0" rIns="0" bIns="0" rtlCol="0" anchor="t">
            <a:noAutofit/>
          </a:bodyPr>
          <a:lstStyle/>
          <a:p>
            <a:pPr marL="285750" indent="-285750">
              <a:spcBef>
                <a:spcPts val="1200"/>
              </a:spcBef>
              <a:buFont typeface="Arial" panose="020B0604020202020204" pitchFamily="34" charset="0"/>
              <a:buChar char="•"/>
            </a:pPr>
            <a:r>
              <a:rPr lang="sv-SE" sz="2000" b="1"/>
              <a:t>Information från förvaltningen</a:t>
            </a:r>
            <a:endParaRPr lang="sv-SE" b="1"/>
          </a:p>
          <a:p>
            <a:pPr lvl="1">
              <a:buFont typeface="Arial" panose="020B0604020202020204" pitchFamily="34" charset="0"/>
              <a:buChar char="•"/>
            </a:pPr>
            <a:r>
              <a:rPr lang="sv-SE" sz="2000" b="1">
                <a:ea typeface="+mn-lt"/>
                <a:cs typeface="+mn-lt"/>
              </a:rPr>
              <a:t> Påminnelse om gallring </a:t>
            </a:r>
          </a:p>
          <a:p>
            <a:pPr lvl="1">
              <a:buFont typeface="Arial" panose="020B0604020202020204" pitchFamily="34" charset="0"/>
              <a:buChar char="•"/>
            </a:pPr>
            <a:r>
              <a:rPr lang="sv-SE" sz="2000">
                <a:ea typeface="+mn-lt"/>
                <a:cs typeface="+mn-lt"/>
              </a:rPr>
              <a:t> Påminnelse om LoA</a:t>
            </a:r>
            <a:endParaRPr lang="sv-SE">
              <a:ea typeface="+mn-lt"/>
              <a:cs typeface="+mn-lt"/>
            </a:endParaRPr>
          </a:p>
          <a:p>
            <a:pPr lvl="1">
              <a:buFont typeface="Arial" panose="020B0604020202020204" pitchFamily="34" charset="0"/>
              <a:buChar char="•"/>
            </a:pPr>
            <a:r>
              <a:rPr lang="sv-SE" sz="2000">
                <a:ea typeface="+mn-lt"/>
                <a:cs typeface="+mn-lt"/>
              </a:rPr>
              <a:t> Support  </a:t>
            </a:r>
            <a:endParaRPr lang="sv-SE">
              <a:ea typeface="+mn-lt"/>
              <a:cs typeface="+mn-lt"/>
            </a:endParaRPr>
          </a:p>
          <a:p>
            <a:pPr lvl="1">
              <a:buFont typeface="Arial" panose="020B0604020202020204" pitchFamily="34" charset="0"/>
              <a:buChar char="•"/>
            </a:pPr>
            <a:r>
              <a:rPr lang="sv-SE" sz="2000">
                <a:ea typeface="+mn-lt"/>
                <a:cs typeface="+mn-lt"/>
              </a:rPr>
              <a:t> Statuskoll från regionerna </a:t>
            </a:r>
            <a:endParaRPr lang="sv-SE">
              <a:ea typeface="+mn-lt"/>
              <a:cs typeface="+mn-lt"/>
            </a:endParaRPr>
          </a:p>
          <a:p>
            <a:pPr lvl="1">
              <a:buFont typeface="Arial" panose="020B0604020202020204" pitchFamily="34" charset="0"/>
              <a:buChar char="•"/>
            </a:pPr>
            <a:r>
              <a:rPr lang="sv-SE" sz="2000"/>
              <a:t> Vitalis</a:t>
            </a:r>
          </a:p>
          <a:p>
            <a:pPr marL="285750" indent="-285750">
              <a:spcBef>
                <a:spcPts val="1200"/>
              </a:spcBef>
              <a:buFont typeface="Arial" panose="020B0604020202020204" pitchFamily="34" charset="0"/>
              <a:buChar char="•"/>
            </a:pPr>
            <a:r>
              <a:rPr lang="sv-SE" sz="2000"/>
              <a:t>Anmälda frågor</a:t>
            </a:r>
          </a:p>
          <a:p>
            <a:pPr marL="285750" indent="-285750">
              <a:buFont typeface="Arial" panose="020B0604020202020204" pitchFamily="34" charset="0"/>
              <a:buChar char="•"/>
            </a:pPr>
            <a:endParaRPr lang="sv-SE" b="1"/>
          </a:p>
        </p:txBody>
      </p:sp>
    </p:spTree>
    <p:extLst>
      <p:ext uri="{BB962C8B-B14F-4D97-AF65-F5344CB8AC3E}">
        <p14:creationId xmlns:p14="http://schemas.microsoft.com/office/powerpoint/2010/main" val="28502662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objekt 4" descr="En bild som visar text&#10;&#10;Automatiskt genererad beskrivning">
            <a:extLst>
              <a:ext uri="{FF2B5EF4-FFF2-40B4-BE49-F238E27FC236}">
                <a16:creationId xmlns:a16="http://schemas.microsoft.com/office/drawing/2014/main" id="{C24AF4CC-E072-4FE3-AB5E-F6A8507C334B}"/>
              </a:ext>
            </a:extLst>
          </p:cNvPr>
          <p:cNvPicPr>
            <a:picLocks noChangeAspect="1"/>
          </p:cNvPicPr>
          <p:nvPr/>
        </p:nvPicPr>
        <p:blipFill>
          <a:blip r:embed="rId2"/>
          <a:stretch>
            <a:fillRect/>
          </a:stretch>
        </p:blipFill>
        <p:spPr>
          <a:xfrm>
            <a:off x="1184275" y="1993706"/>
            <a:ext cx="5273430" cy="108648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Rubrik 2">
            <a:extLst>
              <a:ext uri="{FF2B5EF4-FFF2-40B4-BE49-F238E27FC236}">
                <a16:creationId xmlns:a16="http://schemas.microsoft.com/office/drawing/2014/main" id="{1F6A61D0-C9A9-4590-A7BC-2BC87D50447B}"/>
              </a:ext>
            </a:extLst>
          </p:cNvPr>
          <p:cNvSpPr>
            <a:spLocks noGrp="1"/>
          </p:cNvSpPr>
          <p:nvPr>
            <p:ph type="title"/>
          </p:nvPr>
        </p:nvSpPr>
        <p:spPr/>
        <p:txBody>
          <a:bodyPr/>
          <a:lstStyle/>
          <a:p>
            <a:r>
              <a:rPr lang="sv-SE"/>
              <a:t>Påminnelse om gallring</a:t>
            </a:r>
          </a:p>
        </p:txBody>
      </p:sp>
      <p:sp>
        <p:nvSpPr>
          <p:cNvPr id="4" name="Underrubrik 3">
            <a:extLst>
              <a:ext uri="{FF2B5EF4-FFF2-40B4-BE49-F238E27FC236}">
                <a16:creationId xmlns:a16="http://schemas.microsoft.com/office/drawing/2014/main" id="{A3D50747-90DD-46B2-8D52-B5AEBF58670C}"/>
              </a:ext>
            </a:extLst>
          </p:cNvPr>
          <p:cNvSpPr>
            <a:spLocks noGrp="1"/>
          </p:cNvSpPr>
          <p:nvPr>
            <p:ph idx="1"/>
          </p:nvPr>
        </p:nvSpPr>
        <p:spPr>
          <a:xfrm>
            <a:off x="972267" y="1582148"/>
            <a:ext cx="5277313" cy="3858215"/>
          </a:xfrm>
        </p:spPr>
        <p:txBody>
          <a:bodyPr vert="horz" lIns="0" tIns="0" rIns="0" bIns="0" rtlCol="0" anchor="t">
            <a:noAutofit/>
          </a:bodyPr>
          <a:lstStyle/>
          <a:p>
            <a:pPr marL="0" indent="0">
              <a:buNone/>
            </a:pPr>
            <a:r>
              <a:rPr lang="sv-SE" b="1" dirty="0">
                <a:solidFill>
                  <a:srgbClr val="6A0032"/>
                </a:solidFill>
              </a:rPr>
              <a:t>Ur Bruksanvisningen: </a:t>
            </a:r>
            <a:endParaRPr lang="sv-SE" b="1" dirty="0"/>
          </a:p>
          <a:p>
            <a:pPr marL="0" indent="0">
              <a:buNone/>
            </a:pPr>
            <a:endParaRPr lang="sv-SE" b="1"/>
          </a:p>
          <a:p>
            <a:pPr marL="0" indent="0">
              <a:buNone/>
            </a:pPr>
            <a:endParaRPr lang="sv-SE" b="1"/>
          </a:p>
          <a:p>
            <a:pPr marL="0" indent="0">
              <a:buNone/>
            </a:pPr>
            <a:endParaRPr lang="sv-SE" b="1"/>
          </a:p>
          <a:p>
            <a:pPr marL="0" indent="0">
              <a:buNone/>
            </a:pPr>
            <a:endParaRPr lang="sv-SE" b="1"/>
          </a:p>
          <a:p>
            <a:pPr marL="0" indent="0">
              <a:buNone/>
            </a:pPr>
            <a:r>
              <a:rPr lang="sv-SE" sz="1600" b="1" dirty="0"/>
              <a:t>Orsaker till att en tidsgräns finns är</a:t>
            </a:r>
          </a:p>
          <a:p>
            <a:pPr marL="285750" indent="-285750"/>
            <a:r>
              <a:rPr lang="sv-SE" sz="1600" dirty="0"/>
              <a:t>Att Stöd och behandling inte är ett journalsystem och att det därmed finns krav på att journalföra det som ska journalföras i vårdgivares ordinarie journalsystem</a:t>
            </a:r>
          </a:p>
          <a:p>
            <a:pPr marL="285750" indent="-285750"/>
            <a:r>
              <a:rPr lang="sv-SE" sz="1600" dirty="0"/>
              <a:t>Att prestanda påverkas - prioritering, ekonomi</a:t>
            </a:r>
          </a:p>
          <a:p>
            <a:pPr marL="0" indent="0">
              <a:buNone/>
            </a:pPr>
            <a:endParaRPr lang="sv-SE" b="1"/>
          </a:p>
        </p:txBody>
      </p:sp>
    </p:spTree>
    <p:extLst>
      <p:ext uri="{BB962C8B-B14F-4D97-AF65-F5344CB8AC3E}">
        <p14:creationId xmlns:p14="http://schemas.microsoft.com/office/powerpoint/2010/main" val="1517448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fontAlgn="ctr"/>
            <a:r>
              <a:rPr lang="sv-SE" sz="4000"/>
              <a:t>Agenda</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6</a:t>
            </a:fld>
            <a:endParaRPr lang="sv-SE"/>
          </a:p>
        </p:txBody>
      </p:sp>
      <p:sp>
        <p:nvSpPr>
          <p:cNvPr id="3" name="textruta 2">
            <a:extLst>
              <a:ext uri="{FF2B5EF4-FFF2-40B4-BE49-F238E27FC236}">
                <a16:creationId xmlns:a16="http://schemas.microsoft.com/office/drawing/2014/main" id="{28E8375E-288E-4539-ABE4-FC3D347AF916}"/>
              </a:ext>
            </a:extLst>
          </p:cNvPr>
          <p:cNvSpPr txBox="1"/>
          <p:nvPr/>
        </p:nvSpPr>
        <p:spPr>
          <a:xfrm>
            <a:off x="764186" y="2082412"/>
            <a:ext cx="10517780" cy="3185963"/>
          </a:xfrm>
          <a:prstGeom prst="rect">
            <a:avLst/>
          </a:prstGeom>
          <a:noFill/>
        </p:spPr>
        <p:txBody>
          <a:bodyPr wrap="none" lIns="0" tIns="0" rIns="0" bIns="0" rtlCol="0" anchor="t">
            <a:noAutofit/>
          </a:bodyPr>
          <a:lstStyle/>
          <a:p>
            <a:pPr marL="285750" indent="-285750">
              <a:spcBef>
                <a:spcPts val="1200"/>
              </a:spcBef>
              <a:buFont typeface="Arial" panose="020B0604020202020204" pitchFamily="34" charset="0"/>
              <a:buChar char="•"/>
            </a:pPr>
            <a:r>
              <a:rPr lang="sv-SE" sz="2000" b="1"/>
              <a:t>Information från förvaltningen</a:t>
            </a:r>
            <a:endParaRPr lang="sv-SE" b="1"/>
          </a:p>
          <a:p>
            <a:pPr lvl="1">
              <a:buFont typeface="Arial" panose="020B0604020202020204" pitchFamily="34" charset="0"/>
              <a:buChar char="•"/>
            </a:pPr>
            <a:r>
              <a:rPr lang="sv-SE" sz="2000" b="1">
                <a:ea typeface="+mn-lt"/>
                <a:cs typeface="+mn-lt"/>
              </a:rPr>
              <a:t> </a:t>
            </a:r>
            <a:r>
              <a:rPr lang="sv-SE" sz="2000">
                <a:ea typeface="+mn-lt"/>
                <a:cs typeface="+mn-lt"/>
              </a:rPr>
              <a:t>Påminnelse om gallring </a:t>
            </a:r>
          </a:p>
          <a:p>
            <a:pPr lvl="1">
              <a:buFont typeface="Arial" panose="020B0604020202020204" pitchFamily="34" charset="0"/>
              <a:buChar char="•"/>
            </a:pPr>
            <a:r>
              <a:rPr lang="sv-SE" sz="2000" b="1">
                <a:ea typeface="+mn-lt"/>
                <a:cs typeface="+mn-lt"/>
              </a:rPr>
              <a:t> Påminnelse om LoA</a:t>
            </a:r>
            <a:endParaRPr lang="sv-SE" b="1">
              <a:ea typeface="+mn-lt"/>
              <a:cs typeface="+mn-lt"/>
            </a:endParaRPr>
          </a:p>
          <a:p>
            <a:pPr lvl="1">
              <a:buFont typeface="Arial" panose="020B0604020202020204" pitchFamily="34" charset="0"/>
              <a:buChar char="•"/>
            </a:pPr>
            <a:r>
              <a:rPr lang="sv-SE" sz="2000">
                <a:ea typeface="+mn-lt"/>
                <a:cs typeface="+mn-lt"/>
              </a:rPr>
              <a:t> Support  </a:t>
            </a:r>
            <a:endParaRPr lang="sv-SE">
              <a:ea typeface="+mn-lt"/>
              <a:cs typeface="+mn-lt"/>
            </a:endParaRPr>
          </a:p>
          <a:p>
            <a:pPr lvl="1">
              <a:buFont typeface="Arial" panose="020B0604020202020204" pitchFamily="34" charset="0"/>
              <a:buChar char="•"/>
            </a:pPr>
            <a:r>
              <a:rPr lang="sv-SE" sz="2000">
                <a:ea typeface="+mn-lt"/>
                <a:cs typeface="+mn-lt"/>
              </a:rPr>
              <a:t> Statuskoll från regionerna </a:t>
            </a:r>
            <a:endParaRPr lang="sv-SE">
              <a:ea typeface="+mn-lt"/>
              <a:cs typeface="+mn-lt"/>
            </a:endParaRPr>
          </a:p>
          <a:p>
            <a:pPr lvl="1">
              <a:buFont typeface="Arial" panose="020B0604020202020204" pitchFamily="34" charset="0"/>
              <a:buChar char="•"/>
            </a:pPr>
            <a:r>
              <a:rPr lang="sv-SE" sz="2000"/>
              <a:t> Vitalis</a:t>
            </a:r>
          </a:p>
          <a:p>
            <a:pPr marL="285750" indent="-285750">
              <a:spcBef>
                <a:spcPts val="1200"/>
              </a:spcBef>
              <a:buFont typeface="Arial" panose="020B0604020202020204" pitchFamily="34" charset="0"/>
              <a:buChar char="•"/>
            </a:pPr>
            <a:r>
              <a:rPr lang="sv-SE" sz="2000"/>
              <a:t>Anmälda frågor</a:t>
            </a:r>
          </a:p>
          <a:p>
            <a:pPr marL="285750" indent="-285750">
              <a:buFont typeface="Arial" panose="020B0604020202020204" pitchFamily="34" charset="0"/>
              <a:buChar char="•"/>
            </a:pPr>
            <a:endParaRPr lang="sv-SE" b="1"/>
          </a:p>
        </p:txBody>
      </p:sp>
    </p:spTree>
    <p:extLst>
      <p:ext uri="{BB962C8B-B14F-4D97-AF65-F5344CB8AC3E}">
        <p14:creationId xmlns:p14="http://schemas.microsoft.com/office/powerpoint/2010/main" val="34329751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fontAlgn="ctr"/>
            <a:r>
              <a:rPr lang="sv-SE" sz="4000"/>
              <a:t>Information om </a:t>
            </a:r>
            <a:r>
              <a:rPr lang="sv-SE" sz="4000" err="1"/>
              <a:t>LoA</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7</a:t>
            </a:fld>
            <a:endParaRPr lang="sv-SE"/>
          </a:p>
        </p:txBody>
      </p:sp>
      <p:sp>
        <p:nvSpPr>
          <p:cNvPr id="3" name="textruta 2">
            <a:extLst>
              <a:ext uri="{FF2B5EF4-FFF2-40B4-BE49-F238E27FC236}">
                <a16:creationId xmlns:a16="http://schemas.microsoft.com/office/drawing/2014/main" id="{28E8375E-288E-4539-ABE4-FC3D347AF916}"/>
              </a:ext>
            </a:extLst>
          </p:cNvPr>
          <p:cNvSpPr txBox="1"/>
          <p:nvPr/>
        </p:nvSpPr>
        <p:spPr>
          <a:xfrm>
            <a:off x="747253" y="2124745"/>
            <a:ext cx="10517780" cy="3185963"/>
          </a:xfrm>
          <a:prstGeom prst="rect">
            <a:avLst/>
          </a:prstGeom>
          <a:noFill/>
        </p:spPr>
        <p:txBody>
          <a:bodyPr wrap="none" lIns="0" tIns="0" rIns="0" bIns="0" rtlCol="0" anchor="t">
            <a:noAutofit/>
          </a:bodyPr>
          <a:lstStyle/>
          <a:p>
            <a:pPr marL="285750" indent="-285750">
              <a:spcBef>
                <a:spcPts val="1200"/>
              </a:spcBef>
              <a:buFont typeface="Arial" panose="020B0604020202020204" pitchFamily="34" charset="0"/>
              <a:buChar char="•"/>
            </a:pPr>
            <a:r>
              <a:rPr lang="sv-SE" sz="2000" b="1"/>
              <a:t>Distansuppgradering av SITHS-korten möjlig fram till 24 mars 2021</a:t>
            </a:r>
          </a:p>
          <a:p>
            <a:pPr marL="285750" indent="-285750">
              <a:spcBef>
                <a:spcPts val="1200"/>
              </a:spcBef>
              <a:buFont typeface="Arial" panose="020B0604020202020204" pitchFamily="34" charset="0"/>
              <a:buChar char="•"/>
            </a:pPr>
            <a:r>
              <a:rPr lang="sv-SE" sz="2000" b="1"/>
              <a:t>Designverktyget kommer fr o m 9 december tillåta både LoA2 samt LoA3</a:t>
            </a:r>
          </a:p>
          <a:p>
            <a:pPr marL="285750" indent="-285750">
              <a:spcBef>
                <a:spcPts val="1200"/>
              </a:spcBef>
              <a:buFont typeface="Arial" panose="020B0604020202020204" pitchFamily="34" charset="0"/>
              <a:buChar char="•"/>
            </a:pPr>
            <a:r>
              <a:rPr lang="sv-SE" sz="2000" b="1"/>
              <a:t>Stöd och behandling enbart LoA3 fr o m 9 december</a:t>
            </a:r>
          </a:p>
          <a:p>
            <a:pPr marL="285750" indent="-285750">
              <a:spcBef>
                <a:spcPts val="1200"/>
              </a:spcBef>
              <a:buFont typeface="Arial" panose="020B0604020202020204" pitchFamily="34" charset="0"/>
              <a:buChar char="•"/>
            </a:pPr>
            <a:endParaRPr lang="sv-SE" sz="2000" b="1"/>
          </a:p>
          <a:p>
            <a:pPr>
              <a:spcBef>
                <a:spcPts val="1200"/>
              </a:spcBef>
            </a:pPr>
            <a:r>
              <a:rPr lang="sv-SE" sz="2000" b="1"/>
              <a:t>                                               Frågor?</a:t>
            </a:r>
          </a:p>
        </p:txBody>
      </p:sp>
    </p:spTree>
    <p:extLst>
      <p:ext uri="{BB962C8B-B14F-4D97-AF65-F5344CB8AC3E}">
        <p14:creationId xmlns:p14="http://schemas.microsoft.com/office/powerpoint/2010/main" val="33081812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8142FAB-2177-42C2-83A7-B8FCD6F5DAB5}"/>
              </a:ext>
            </a:extLst>
          </p:cNvPr>
          <p:cNvSpPr>
            <a:spLocks noGrp="1"/>
          </p:cNvSpPr>
          <p:nvPr>
            <p:ph type="title"/>
          </p:nvPr>
        </p:nvSpPr>
        <p:spPr>
          <a:xfrm>
            <a:off x="582040" y="307375"/>
            <a:ext cx="11027920" cy="1703670"/>
          </a:xfrm>
        </p:spPr>
        <p:txBody>
          <a:bodyPr/>
          <a:lstStyle/>
          <a:p>
            <a:pPr algn="l" fontAlgn="ctr"/>
            <a:r>
              <a:rPr lang="sv-SE" sz="4000"/>
              <a:t>Agenda</a:t>
            </a:r>
          </a:p>
        </p:txBody>
      </p:sp>
      <p:sp>
        <p:nvSpPr>
          <p:cNvPr id="4" name="Platshållare för bildnummer 3">
            <a:extLst>
              <a:ext uri="{FF2B5EF4-FFF2-40B4-BE49-F238E27FC236}">
                <a16:creationId xmlns:a16="http://schemas.microsoft.com/office/drawing/2014/main" id="{B4A63A69-9B4D-42FD-BD64-440788F67C1E}"/>
              </a:ext>
            </a:extLst>
          </p:cNvPr>
          <p:cNvSpPr>
            <a:spLocks noGrp="1"/>
          </p:cNvSpPr>
          <p:nvPr>
            <p:ph type="sldNum" sz="quarter" idx="4"/>
          </p:nvPr>
        </p:nvSpPr>
        <p:spPr/>
        <p:txBody>
          <a:bodyPr/>
          <a:lstStyle/>
          <a:p>
            <a:fld id="{7FF155A8-5C6D-4241-95DF-81E4F2B16EE5}" type="slidenum">
              <a:rPr lang="sv-SE" smtClean="0"/>
              <a:pPr/>
              <a:t>8</a:t>
            </a:fld>
            <a:endParaRPr lang="sv-SE"/>
          </a:p>
        </p:txBody>
      </p:sp>
      <p:sp>
        <p:nvSpPr>
          <p:cNvPr id="3" name="textruta 2">
            <a:extLst>
              <a:ext uri="{FF2B5EF4-FFF2-40B4-BE49-F238E27FC236}">
                <a16:creationId xmlns:a16="http://schemas.microsoft.com/office/drawing/2014/main" id="{28E8375E-288E-4539-ABE4-FC3D347AF916}"/>
              </a:ext>
            </a:extLst>
          </p:cNvPr>
          <p:cNvSpPr txBox="1"/>
          <p:nvPr/>
        </p:nvSpPr>
        <p:spPr>
          <a:xfrm>
            <a:off x="764186" y="2082412"/>
            <a:ext cx="10517780" cy="3185963"/>
          </a:xfrm>
          <a:prstGeom prst="rect">
            <a:avLst/>
          </a:prstGeom>
          <a:noFill/>
        </p:spPr>
        <p:txBody>
          <a:bodyPr wrap="none" lIns="0" tIns="0" rIns="0" bIns="0" rtlCol="0" anchor="t">
            <a:noAutofit/>
          </a:bodyPr>
          <a:lstStyle/>
          <a:p>
            <a:pPr marL="285750" indent="-285750">
              <a:spcBef>
                <a:spcPts val="1200"/>
              </a:spcBef>
              <a:buFont typeface="Arial" panose="020B0604020202020204" pitchFamily="34" charset="0"/>
              <a:buChar char="•"/>
            </a:pPr>
            <a:r>
              <a:rPr lang="sv-SE" sz="2000" b="1"/>
              <a:t>Information från förvaltningen</a:t>
            </a:r>
            <a:endParaRPr lang="sv-SE" b="1"/>
          </a:p>
          <a:p>
            <a:pPr lvl="1">
              <a:buFont typeface="Arial" panose="020B0604020202020204" pitchFamily="34" charset="0"/>
              <a:buChar char="•"/>
            </a:pPr>
            <a:r>
              <a:rPr lang="sv-SE" sz="2000" b="1">
                <a:ea typeface="+mn-lt"/>
                <a:cs typeface="+mn-lt"/>
              </a:rPr>
              <a:t> </a:t>
            </a:r>
            <a:r>
              <a:rPr lang="sv-SE" sz="2000">
                <a:ea typeface="+mn-lt"/>
                <a:cs typeface="+mn-lt"/>
              </a:rPr>
              <a:t>Påminnelse om gallring </a:t>
            </a:r>
          </a:p>
          <a:p>
            <a:pPr lvl="1">
              <a:buFont typeface="Arial" panose="020B0604020202020204" pitchFamily="34" charset="0"/>
              <a:buChar char="•"/>
            </a:pPr>
            <a:r>
              <a:rPr lang="sv-SE" sz="2000">
                <a:ea typeface="+mn-lt"/>
                <a:cs typeface="+mn-lt"/>
              </a:rPr>
              <a:t> Påminnelse om LoA</a:t>
            </a:r>
            <a:endParaRPr lang="sv-SE">
              <a:ea typeface="+mn-lt"/>
              <a:cs typeface="+mn-lt"/>
            </a:endParaRPr>
          </a:p>
          <a:p>
            <a:pPr lvl="1">
              <a:buFont typeface="Arial" panose="020B0604020202020204" pitchFamily="34" charset="0"/>
              <a:buChar char="•"/>
            </a:pPr>
            <a:r>
              <a:rPr lang="sv-SE" sz="2000">
                <a:ea typeface="+mn-lt"/>
                <a:cs typeface="+mn-lt"/>
              </a:rPr>
              <a:t> </a:t>
            </a:r>
            <a:r>
              <a:rPr lang="sv-SE" sz="2000" b="1">
                <a:ea typeface="+mn-lt"/>
                <a:cs typeface="+mn-lt"/>
              </a:rPr>
              <a:t>Support</a:t>
            </a:r>
            <a:r>
              <a:rPr lang="sv-SE" sz="2000">
                <a:ea typeface="+mn-lt"/>
                <a:cs typeface="+mn-lt"/>
              </a:rPr>
              <a:t>  </a:t>
            </a:r>
            <a:endParaRPr lang="sv-SE">
              <a:ea typeface="+mn-lt"/>
              <a:cs typeface="+mn-lt"/>
            </a:endParaRPr>
          </a:p>
          <a:p>
            <a:pPr lvl="1">
              <a:buFont typeface="Arial" panose="020B0604020202020204" pitchFamily="34" charset="0"/>
              <a:buChar char="•"/>
            </a:pPr>
            <a:r>
              <a:rPr lang="sv-SE" sz="2000">
                <a:ea typeface="+mn-lt"/>
                <a:cs typeface="+mn-lt"/>
              </a:rPr>
              <a:t> Statuskoll från regionerna </a:t>
            </a:r>
            <a:endParaRPr lang="sv-SE">
              <a:ea typeface="+mn-lt"/>
              <a:cs typeface="+mn-lt"/>
            </a:endParaRPr>
          </a:p>
          <a:p>
            <a:pPr lvl="1">
              <a:buFont typeface="Arial" panose="020B0604020202020204" pitchFamily="34" charset="0"/>
              <a:buChar char="•"/>
            </a:pPr>
            <a:r>
              <a:rPr lang="sv-SE" sz="2000"/>
              <a:t> Vitalis</a:t>
            </a:r>
          </a:p>
          <a:p>
            <a:pPr marL="285750" indent="-285750">
              <a:spcBef>
                <a:spcPts val="1200"/>
              </a:spcBef>
              <a:buFont typeface="Arial" panose="020B0604020202020204" pitchFamily="34" charset="0"/>
              <a:buChar char="•"/>
            </a:pPr>
            <a:r>
              <a:rPr lang="sv-SE" sz="2000"/>
              <a:t>Anmälda frågor</a:t>
            </a:r>
          </a:p>
          <a:p>
            <a:pPr marL="285750" indent="-285750">
              <a:buFont typeface="Arial" panose="020B0604020202020204" pitchFamily="34" charset="0"/>
              <a:buChar char="•"/>
            </a:pPr>
            <a:endParaRPr lang="sv-SE" b="1"/>
          </a:p>
        </p:txBody>
      </p:sp>
    </p:spTree>
    <p:extLst>
      <p:ext uri="{BB962C8B-B14F-4D97-AF65-F5344CB8AC3E}">
        <p14:creationId xmlns:p14="http://schemas.microsoft.com/office/powerpoint/2010/main" val="20704881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36594C08-4DB2-417A-96A5-74100ED03812}"/>
              </a:ext>
            </a:extLst>
          </p:cNvPr>
          <p:cNvSpPr>
            <a:spLocks noGrp="1"/>
          </p:cNvSpPr>
          <p:nvPr>
            <p:ph type="title"/>
          </p:nvPr>
        </p:nvSpPr>
        <p:spPr>
          <a:xfrm>
            <a:off x="5555740" y="438588"/>
            <a:ext cx="6400800" cy="1990726"/>
          </a:xfrm>
        </p:spPr>
        <p:txBody>
          <a:bodyPr/>
          <a:lstStyle/>
          <a:p>
            <a:r>
              <a:rPr lang="sv-SE">
                <a:solidFill>
                  <a:schemeClr val="accent1"/>
                </a:solidFill>
              </a:rPr>
              <a:t>Support</a:t>
            </a:r>
            <a:r>
              <a:rPr lang="sv-SE"/>
              <a:t> så nära som möjligt</a:t>
            </a:r>
            <a:br>
              <a:rPr lang="sv-SE">
                <a:solidFill>
                  <a:schemeClr val="accent1"/>
                </a:solidFill>
              </a:rPr>
            </a:br>
            <a:endParaRPr lang="sv-SE"/>
          </a:p>
        </p:txBody>
      </p:sp>
      <p:pic>
        <p:nvPicPr>
          <p:cNvPr id="5" name="Platshållare för bild 4">
            <a:extLst>
              <a:ext uri="{FF2B5EF4-FFF2-40B4-BE49-F238E27FC236}">
                <a16:creationId xmlns:a16="http://schemas.microsoft.com/office/drawing/2014/main" id="{E607ADC7-6305-4A2D-A551-C58AA1DE8B6C}"/>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3248" r="3248"/>
          <a:stretch>
            <a:fillRect/>
          </a:stretch>
        </p:blipFill>
        <p:spPr>
          <a:xfrm>
            <a:off x="0" y="0"/>
            <a:ext cx="5417768" cy="6105832"/>
          </a:xfrm>
        </p:spPr>
      </p:pic>
      <p:sp>
        <p:nvSpPr>
          <p:cNvPr id="6" name="Platshållare för innehåll 9">
            <a:extLst>
              <a:ext uri="{FF2B5EF4-FFF2-40B4-BE49-F238E27FC236}">
                <a16:creationId xmlns:a16="http://schemas.microsoft.com/office/drawing/2014/main" id="{A3A7B45A-E037-4C71-B4CF-A384DACC1BEA}"/>
              </a:ext>
            </a:extLst>
          </p:cNvPr>
          <p:cNvSpPr txBox="1">
            <a:spLocks/>
          </p:cNvSpPr>
          <p:nvPr/>
        </p:nvSpPr>
        <p:spPr>
          <a:xfrm>
            <a:off x="5764697" y="1908312"/>
            <a:ext cx="5903842" cy="3879575"/>
          </a:xfrm>
          <a:prstGeom prst="rect">
            <a:avLst/>
          </a:prstGeom>
        </p:spPr>
        <p:txBody>
          <a:bodyPr vert="horz" lIns="0" tIns="0" rIns="0" bIns="0" rtlCol="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1800" kern="1200">
                <a:solidFill>
                  <a:schemeClr val="accent2"/>
                </a:solidFill>
                <a:latin typeface="+mn-lt"/>
                <a:ea typeface="+mn-ea"/>
                <a:cs typeface="+mn-cs"/>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2pPr>
            <a:lvl3pPr marL="11430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3pPr>
            <a:lvl4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4pPr>
            <a:lvl5pPr marL="20574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Courier New" panose="02070309020205020404" pitchFamily="49" charset="0"/>
              <a:buChar char="o"/>
            </a:pPr>
            <a:r>
              <a:rPr lang="sv-SE"/>
              <a:t>Invånare ska i första hand vända sig till sin behandlare när de stöter på problem eller har frågor. </a:t>
            </a:r>
          </a:p>
          <a:p>
            <a:pPr marL="0" indent="0">
              <a:buNone/>
            </a:pPr>
            <a:endParaRPr lang="sv-SE"/>
          </a:p>
          <a:p>
            <a:pPr marL="342900" indent="-342900">
              <a:buFont typeface="+mj-lt"/>
              <a:buAutoNum type="arabicPeriod"/>
            </a:pPr>
            <a:r>
              <a:rPr lang="sv-SE"/>
              <a:t>Behandlare ska i första hand vända sig till sina kollegor</a:t>
            </a:r>
          </a:p>
          <a:p>
            <a:pPr marL="342900" indent="-342900">
              <a:buFont typeface="+mj-lt"/>
              <a:buAutoNum type="arabicPeriod"/>
            </a:pPr>
            <a:r>
              <a:rPr lang="sv-SE"/>
              <a:t>Behandlare ska i andra hand vända sig till sin regionala support</a:t>
            </a:r>
          </a:p>
          <a:p>
            <a:pPr marL="342900" indent="-342900">
              <a:buFont typeface="+mj-lt"/>
              <a:buAutoNum type="arabicPeriod"/>
            </a:pPr>
            <a:r>
              <a:rPr lang="sv-SE"/>
              <a:t>Regional support kan vid behov vända sig till den nationella supporten. Mejl skickas till </a:t>
            </a:r>
            <a:r>
              <a:rPr lang="sv-SE">
                <a:hlinkClick r:id="rId3"/>
              </a:rPr>
              <a:t>e-tjanster@1177.se</a:t>
            </a:r>
            <a:r>
              <a:rPr lang="sv-SE"/>
              <a:t> nämn Stöd och behandling i </a:t>
            </a:r>
            <a:r>
              <a:rPr lang="sv-SE" err="1"/>
              <a:t>ämnesraden</a:t>
            </a:r>
            <a:r>
              <a:rPr lang="sv-SE"/>
              <a:t> för smidigare hantering av ärendet. Inga felanmälningar ska göras på projektplatsen. </a:t>
            </a:r>
            <a:r>
              <a:rPr lang="sv-SE">
                <a:solidFill>
                  <a:srgbClr val="FF0000"/>
                </a:solidFill>
              </a:rPr>
              <a:t>OBS! För att få hjälp av den nationella supporten krävs </a:t>
            </a:r>
            <a:r>
              <a:rPr lang="sv-SE" err="1">
                <a:solidFill>
                  <a:srgbClr val="FF0000"/>
                </a:solidFill>
              </a:rPr>
              <a:t>skärmdumpar</a:t>
            </a:r>
            <a:r>
              <a:rPr lang="sv-SE">
                <a:solidFill>
                  <a:srgbClr val="FF0000"/>
                </a:solidFill>
              </a:rPr>
              <a:t> </a:t>
            </a:r>
            <a:endParaRPr lang="sv-SE"/>
          </a:p>
          <a:p>
            <a:pPr marL="342900" indent="-342900">
              <a:buFont typeface="+mj-lt"/>
              <a:buAutoNum type="arabicPeriod"/>
            </a:pPr>
            <a:endParaRPr lang="sv-SE">
              <a:solidFill>
                <a:srgbClr val="FF0000"/>
              </a:solidFill>
            </a:endParaRPr>
          </a:p>
        </p:txBody>
      </p:sp>
    </p:spTree>
    <p:extLst>
      <p:ext uri="{BB962C8B-B14F-4D97-AF65-F5344CB8AC3E}">
        <p14:creationId xmlns:p14="http://schemas.microsoft.com/office/powerpoint/2010/main" val="462872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15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Jq8pWEAipNB.83_P_hIiw"/>
</p:tagLst>
</file>

<file path=ppt/theme/theme1.xml><?xml version="1.0" encoding="utf-8"?>
<a:theme xmlns:a="http://schemas.openxmlformats.org/drawingml/2006/main" name="1177 Vårguiden">
  <a:themeElements>
    <a:clrScheme name="1177">
      <a:dk1>
        <a:sysClr val="windowText" lastClr="000000"/>
      </a:dk1>
      <a:lt1>
        <a:sysClr val="window" lastClr="FFFFFF"/>
      </a:lt1>
      <a:dk2>
        <a:srgbClr val="FA8100"/>
      </a:dk2>
      <a:lt2>
        <a:srgbClr val="636466"/>
      </a:lt2>
      <a:accent1>
        <a:srgbClr val="C12143"/>
      </a:accent1>
      <a:accent2>
        <a:srgbClr val="6A0032"/>
      </a:accent2>
      <a:accent3>
        <a:srgbClr val="FAEEF0"/>
      </a:accent3>
      <a:accent4>
        <a:srgbClr val="396291"/>
      </a:accent4>
      <a:accent5>
        <a:srgbClr val="438F2C"/>
      </a:accent5>
      <a:accent6>
        <a:srgbClr val="A9428B"/>
      </a:accent6>
      <a:hlink>
        <a:srgbClr val="C12143"/>
      </a:hlink>
      <a:folHlink>
        <a:srgbClr val="6A0032"/>
      </a:folHlink>
    </a:clrScheme>
    <a:fontScheme name="1177">
      <a:majorFont>
        <a:latin typeface="Inter"/>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mtClean="0"/>
        </a:defPPr>
      </a:lstStyle>
    </a:txDef>
  </a:objectDefaults>
  <a:extraClrSchemeLst/>
  <a:extLst>
    <a:ext uri="{05A4C25C-085E-4340-85A3-A5531E510DB2}">
      <thm15:themeFamily xmlns:thm15="http://schemas.microsoft.com/office/thememl/2012/main" name="Mall_PPT_20190416  -  Skrivskyddad" id="{22903717-B928-4645-BD5D-D0BD4232857A}" vid="{FA763605-81F1-4FF2-B45C-69DD8ABF7492}"/>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04AF1B5AFADE1438984E4ED97CAED62" ma:contentTypeVersion="9" ma:contentTypeDescription="Skapa ett nytt dokument." ma:contentTypeScope="" ma:versionID="a980f67f77fe65476dc5d14893b72326">
  <xsd:schema xmlns:xsd="http://www.w3.org/2001/XMLSchema" xmlns:xs="http://www.w3.org/2001/XMLSchema" xmlns:p="http://schemas.microsoft.com/office/2006/metadata/properties" xmlns:ns2="69252be8-17ef-4408-949c-5e7cc87314a9" targetNamespace="http://schemas.microsoft.com/office/2006/metadata/properties" ma:root="true" ma:fieldsID="63638b71a950e2c72af3fec150b48d75" ns2:_="">
    <xsd:import namespace="69252be8-17ef-4408-949c-5e7cc87314a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252be8-17ef-4408-949c-5e7cc87314a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9A60F91-87FE-4C1F-BCE2-459553F32B2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9252be8-17ef-4408-949c-5e7cc87314a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068680-729C-46D7-81EE-A3EC47914E3B}">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69252be8-17ef-4408-949c-5e7cc87314a9"/>
    <ds:schemaRef ds:uri="http://www.w3.org/XML/1998/namespace"/>
    <ds:schemaRef ds:uri="http://purl.org/dc/dcmitype/"/>
  </ds:schemaRefs>
</ds:datastoreItem>
</file>

<file path=customXml/itemProps3.xml><?xml version="1.0" encoding="utf-8"?>
<ds:datastoreItem xmlns:ds="http://schemas.openxmlformats.org/officeDocument/2006/customXml" ds:itemID="{15AB53AA-EBE4-46F9-A91E-045D87E59A5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2</TotalTime>
  <Words>1354</Words>
  <Application>Microsoft Office PowerPoint</Application>
  <PresentationFormat>Bredbild</PresentationFormat>
  <Paragraphs>178</Paragraphs>
  <Slides>23</Slides>
  <Notes>0</Notes>
  <HiddenSlides>0</HiddenSlides>
  <MMClips>0</MMClips>
  <ScaleCrop>false</ScaleCrop>
  <HeadingPairs>
    <vt:vector size="8" baseType="variant">
      <vt:variant>
        <vt:lpstr>Använt teckensnitt</vt:lpstr>
      </vt:variant>
      <vt:variant>
        <vt:i4>6</vt:i4>
      </vt:variant>
      <vt:variant>
        <vt:lpstr>Tema</vt:lpstr>
      </vt:variant>
      <vt:variant>
        <vt:i4>1</vt:i4>
      </vt:variant>
      <vt:variant>
        <vt:lpstr>Serverprogram för OLE-inbäddning</vt:lpstr>
      </vt:variant>
      <vt:variant>
        <vt:i4>1</vt:i4>
      </vt:variant>
      <vt:variant>
        <vt:lpstr>Bildrubriker</vt:lpstr>
      </vt:variant>
      <vt:variant>
        <vt:i4>23</vt:i4>
      </vt:variant>
    </vt:vector>
  </HeadingPairs>
  <TitlesOfParts>
    <vt:vector size="31" baseType="lpstr">
      <vt:lpstr>Arial</vt:lpstr>
      <vt:lpstr>Calibri</vt:lpstr>
      <vt:lpstr>Courier New</vt:lpstr>
      <vt:lpstr>Inter</vt:lpstr>
      <vt:lpstr>Open Sans</vt:lpstr>
      <vt:lpstr>Wingdings</vt:lpstr>
      <vt:lpstr>1177 Vårguiden</vt:lpstr>
      <vt:lpstr>think-cell Slide</vt:lpstr>
      <vt:lpstr>Användarforum    Stöd och behandling</vt:lpstr>
      <vt:lpstr>Innan vi börjar….</vt:lpstr>
      <vt:lpstr>Syfte: Koordinera och samla in behov samt kanal för informations- och erfarenhetsutbyte </vt:lpstr>
      <vt:lpstr>Agenda</vt:lpstr>
      <vt:lpstr>Påminnelse om gallring</vt:lpstr>
      <vt:lpstr>Agenda</vt:lpstr>
      <vt:lpstr>Information om LoA</vt:lpstr>
      <vt:lpstr>Agenda</vt:lpstr>
      <vt:lpstr>Support så nära som möjligt </vt:lpstr>
      <vt:lpstr>Regional support vänder sig till nationell support</vt:lpstr>
      <vt:lpstr>Hypotetiskt supportflöde </vt:lpstr>
      <vt:lpstr>Hypotetiskt supportflöde </vt:lpstr>
      <vt:lpstr>Hypotetiskt supportflöde </vt:lpstr>
      <vt:lpstr>Supporten fick ett mejl … </vt:lpstr>
      <vt:lpstr>Agenda</vt:lpstr>
      <vt:lpstr>Statuskoll från regionerna </vt:lpstr>
      <vt:lpstr>Agenda</vt:lpstr>
      <vt:lpstr>Vitalis maj 2021 </vt:lpstr>
      <vt:lpstr>Agenda</vt:lpstr>
      <vt:lpstr>Anmälda frågor</vt:lpstr>
      <vt:lpstr>Höstens kommande Användarforum</vt:lpstr>
      <vt:lpstr>Tack för er uppmärksamhet!  Finns det fördjupningsområde ni är intresserade av att höra om,  skicka ett ärende till supporten och tagga med ”Användarforum”</vt:lpstr>
      <vt:lpstr>PowerPoint-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 rubrik kommer att stå här och kan vara på tre rader</dc:title>
  <dc:creator>Bennani Safia</dc:creator>
  <cp:lastModifiedBy>Axelsson Jenny</cp:lastModifiedBy>
  <cp:revision>59</cp:revision>
  <dcterms:created xsi:type="dcterms:W3CDTF">2019-08-13T08:23:18Z</dcterms:created>
  <dcterms:modified xsi:type="dcterms:W3CDTF">2020-10-28T08:13: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04AF1B5AFADE1438984E4ED97CAED62</vt:lpwstr>
  </property>
</Properties>
</file>